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0.xml" ContentType="application/vnd.openxmlformats-officedocument.presentationml.notesSlide+xml"/>
  <Override PartName="/ppt/tags/tag17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3648" r:id="rId5"/>
    <p:sldMasterId id="2147483651" r:id="rId6"/>
  </p:sldMasterIdLst>
  <p:notesMasterIdLst>
    <p:notesMasterId r:id="rId19"/>
  </p:notesMasterIdLst>
  <p:handoutMasterIdLst>
    <p:handoutMasterId r:id="rId20"/>
  </p:handoutMasterIdLst>
  <p:sldIdLst>
    <p:sldId id="256" r:id="rId7"/>
    <p:sldId id="683" r:id="rId8"/>
    <p:sldId id="685" r:id="rId9"/>
    <p:sldId id="686" r:id="rId10"/>
    <p:sldId id="687" r:id="rId11"/>
    <p:sldId id="688" r:id="rId12"/>
    <p:sldId id="689" r:id="rId13"/>
    <p:sldId id="690" r:id="rId14"/>
    <p:sldId id="691" r:id="rId15"/>
    <p:sldId id="665" r:id="rId16"/>
    <p:sldId id="693" r:id="rId17"/>
    <p:sldId id="692" r:id="rId18"/>
  </p:sldIdLst>
  <p:sldSz cx="12192000" cy="6858000"/>
  <p:notesSz cx="7099300" cy="10234613"/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18" userDrawn="1">
          <p15:clr>
            <a:srgbClr val="A4A3A4"/>
          </p15:clr>
        </p15:guide>
        <p15:guide id="2" pos="49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feller Marcel" initials="GM" lastIdx="13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FFFF"/>
    <a:srgbClr val="EAB200"/>
    <a:srgbClr val="006666"/>
    <a:srgbClr val="BCEADC"/>
    <a:srgbClr val="4D3B62"/>
    <a:srgbClr val="E6E6E6"/>
    <a:srgbClr val="0099FF"/>
    <a:srgbClr val="E0E0E0"/>
    <a:srgbClr val="FFFFBD"/>
    <a:srgbClr val="EEEC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417" autoAdjust="0"/>
    <p:restoredTop sz="95134" autoAdjust="0"/>
  </p:normalViewPr>
  <p:slideViewPr>
    <p:cSldViewPr snapToGrid="0">
      <p:cViewPr varScale="1">
        <p:scale>
          <a:sx n="67" d="100"/>
          <a:sy n="67" d="100"/>
        </p:scale>
        <p:origin x="924" y="60"/>
      </p:cViewPr>
      <p:guideLst>
        <p:guide orient="horz" pos="618"/>
        <p:guide pos="49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9.xml"/><Relationship Id="rId23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076363" cy="511731"/>
          </a:xfrm>
          <a:prstGeom prst="rect">
            <a:avLst/>
          </a:prstGeom>
        </p:spPr>
        <p:txBody>
          <a:bodyPr vert="horz" lIns="94787" tIns="47393" rIns="94787" bIns="47393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021297" y="1"/>
            <a:ext cx="3076363" cy="511731"/>
          </a:xfrm>
          <a:prstGeom prst="rect">
            <a:avLst/>
          </a:prstGeom>
        </p:spPr>
        <p:txBody>
          <a:bodyPr vert="horz" lIns="94787" tIns="47393" rIns="94787" bIns="47393" rtlCol="0"/>
          <a:lstStyle>
            <a:lvl1pPr algn="r">
              <a:defRPr sz="1200"/>
            </a:lvl1pPr>
          </a:lstStyle>
          <a:p>
            <a:fld id="{AF64F080-DA10-D84D-8C2E-50B15190EB4F}" type="datetimeFigureOut">
              <a:rPr lang="de-DE" smtClean="0"/>
              <a:pPr/>
              <a:t>18.09.20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4" y="9721107"/>
            <a:ext cx="3076363" cy="511731"/>
          </a:xfrm>
          <a:prstGeom prst="rect">
            <a:avLst/>
          </a:prstGeom>
        </p:spPr>
        <p:txBody>
          <a:bodyPr vert="horz" lIns="94787" tIns="47393" rIns="94787" bIns="47393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021297" y="9721107"/>
            <a:ext cx="3076363" cy="511731"/>
          </a:xfrm>
          <a:prstGeom prst="rect">
            <a:avLst/>
          </a:prstGeom>
        </p:spPr>
        <p:txBody>
          <a:bodyPr vert="horz" lIns="94787" tIns="47393" rIns="94787" bIns="47393" rtlCol="0" anchor="b"/>
          <a:lstStyle>
            <a:lvl1pPr algn="r">
              <a:defRPr sz="1200"/>
            </a:lvl1pPr>
          </a:lstStyle>
          <a:p>
            <a:fld id="{A8DF1D30-D9F6-3040-99B9-7EEED0E94B18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623629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4" y="1"/>
            <a:ext cx="3076363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87" tIns="47393" rIns="94787" bIns="47393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1229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1297" y="1"/>
            <a:ext cx="3076363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87" tIns="47393" rIns="94787" bIns="47393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2253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9700" y="768350"/>
            <a:ext cx="6819900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29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9930" y="4861442"/>
            <a:ext cx="5679440" cy="4605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87" tIns="47393" rIns="94787" bIns="4739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noProof="0" smtClean="0"/>
              <a:t>Textmasterformate durch Klicken bearbeiten</a:t>
            </a:r>
          </a:p>
          <a:p>
            <a:pPr lvl="1"/>
            <a:r>
              <a:rPr lang="de-CH" noProof="0" smtClean="0"/>
              <a:t>Zweite Ebene</a:t>
            </a:r>
          </a:p>
          <a:p>
            <a:pPr lvl="2"/>
            <a:r>
              <a:rPr lang="de-CH" noProof="0" smtClean="0"/>
              <a:t>Dritte Ebene</a:t>
            </a:r>
          </a:p>
          <a:p>
            <a:pPr lvl="3"/>
            <a:r>
              <a:rPr lang="de-CH" noProof="0" smtClean="0"/>
              <a:t>Vierte Ebene</a:t>
            </a:r>
          </a:p>
          <a:p>
            <a:pPr lvl="4"/>
            <a:r>
              <a:rPr lang="de-CH" noProof="0" smtClean="0"/>
              <a:t>Fünfte Ebene</a:t>
            </a:r>
          </a:p>
        </p:txBody>
      </p:sp>
      <p:sp>
        <p:nvSpPr>
          <p:cNvPr id="1229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4" y="9721107"/>
            <a:ext cx="3076363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87" tIns="47393" rIns="94787" bIns="47393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1229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1297" y="9721107"/>
            <a:ext cx="3076363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87" tIns="47393" rIns="94787" bIns="47393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22860BBF-5E41-4F1B-A555-7A52EA52A2D3}" type="slidenum">
              <a:rPr lang="de-CH"/>
              <a:pPr>
                <a:defRPr/>
              </a:pPr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9455419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39700" y="768350"/>
            <a:ext cx="6819900" cy="3836988"/>
          </a:xfrm>
          <a:ln/>
        </p:spPr>
      </p:sp>
      <p:sp>
        <p:nvSpPr>
          <p:cNvPr id="23555" name="Notizenplatzhalt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de-CH" smtClean="0"/>
          </a:p>
        </p:txBody>
      </p:sp>
    </p:spTree>
    <p:extLst>
      <p:ext uri="{BB962C8B-B14F-4D97-AF65-F5344CB8AC3E}">
        <p14:creationId xmlns:p14="http://schemas.microsoft.com/office/powerpoint/2010/main" val="275266412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3873968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3840106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39700" y="768350"/>
            <a:ext cx="6819900" cy="3836988"/>
          </a:xfrm>
          <a:ln/>
        </p:spPr>
      </p:sp>
      <p:sp>
        <p:nvSpPr>
          <p:cNvPr id="23555" name="Notizenplatzhalt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de-CH" smtClean="0"/>
          </a:p>
        </p:txBody>
      </p:sp>
    </p:spTree>
    <p:extLst>
      <p:ext uri="{BB962C8B-B14F-4D97-AF65-F5344CB8AC3E}">
        <p14:creationId xmlns:p14="http://schemas.microsoft.com/office/powerpoint/2010/main" val="6666724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92523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015675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179480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293638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071909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13518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738989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470167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5534" y="6022040"/>
            <a:ext cx="2740066" cy="495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96662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90302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5534" y="5982284"/>
            <a:ext cx="2740066" cy="495266"/>
          </a:xfrm>
          <a:prstGeom prst="rect">
            <a:avLst/>
          </a:prstGeom>
        </p:spPr>
      </p:pic>
      <p:sp>
        <p:nvSpPr>
          <p:cNvPr id="1031" name="Freeform 7"/>
          <p:cNvSpPr>
            <a:spLocks/>
          </p:cNvSpPr>
          <p:nvPr userDrawn="1"/>
        </p:nvSpPr>
        <p:spPr bwMode="auto">
          <a:xfrm>
            <a:off x="406400" y="622300"/>
            <a:ext cx="11379200" cy="1384300"/>
          </a:xfrm>
          <a:custGeom>
            <a:avLst/>
            <a:gdLst/>
            <a:ahLst/>
            <a:cxnLst>
              <a:cxn ang="0">
                <a:pos x="2" y="16"/>
              </a:cxn>
              <a:cxn ang="0">
                <a:pos x="0" y="836"/>
              </a:cxn>
              <a:cxn ang="0">
                <a:pos x="5376" y="832"/>
              </a:cxn>
              <a:cxn ang="0">
                <a:pos x="5374" y="566"/>
              </a:cxn>
              <a:cxn ang="0">
                <a:pos x="3950" y="92"/>
              </a:cxn>
              <a:cxn ang="0">
                <a:pos x="2110" y="12"/>
              </a:cxn>
              <a:cxn ang="0">
                <a:pos x="2" y="16"/>
              </a:cxn>
            </a:cxnLst>
            <a:rect l="0" t="0" r="r" b="b"/>
            <a:pathLst>
              <a:path w="5376" h="872">
                <a:moveTo>
                  <a:pt x="2" y="16"/>
                </a:moveTo>
                <a:lnTo>
                  <a:pt x="0" y="836"/>
                </a:lnTo>
                <a:cubicBezTo>
                  <a:pt x="0" y="836"/>
                  <a:pt x="2688" y="834"/>
                  <a:pt x="5376" y="832"/>
                </a:cubicBezTo>
                <a:cubicBezTo>
                  <a:pt x="5374" y="562"/>
                  <a:pt x="5376" y="872"/>
                  <a:pt x="5374" y="566"/>
                </a:cubicBezTo>
                <a:cubicBezTo>
                  <a:pt x="5002" y="364"/>
                  <a:pt x="4494" y="184"/>
                  <a:pt x="3950" y="92"/>
                </a:cubicBezTo>
                <a:cubicBezTo>
                  <a:pt x="3406" y="0"/>
                  <a:pt x="2768" y="25"/>
                  <a:pt x="2110" y="12"/>
                </a:cubicBezTo>
                <a:cubicBezTo>
                  <a:pt x="968" y="12"/>
                  <a:pt x="441" y="15"/>
                  <a:pt x="2" y="16"/>
                </a:cubicBezTo>
                <a:close/>
              </a:path>
            </a:pathLst>
          </a:custGeom>
          <a:solidFill>
            <a:srgbClr val="FFC000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CH" sz="2400" dirty="0"/>
          </a:p>
        </p:txBody>
      </p:sp>
      <p:sp>
        <p:nvSpPr>
          <p:cNvPr id="1032" name="Text Box 8"/>
          <p:cNvSpPr txBox="1">
            <a:spLocks noChangeArrowheads="1"/>
          </p:cNvSpPr>
          <p:nvPr userDrawn="1"/>
        </p:nvSpPr>
        <p:spPr bwMode="auto">
          <a:xfrm>
            <a:off x="437665" y="371061"/>
            <a:ext cx="6523951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de-DE" sz="1000" b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uturaMedium" panose="020B0500000000000000" pitchFamily="34" charset="0"/>
              </a:rPr>
              <a:t>VBSH.</a:t>
            </a:r>
            <a:r>
              <a:rPr lang="de-DE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uturaMedium" panose="020B0500000000000000" pitchFamily="34" charset="0"/>
              </a:rPr>
              <a:t>STADT-SCHAFFHAUSEN.CH</a:t>
            </a:r>
          </a:p>
          <a:p>
            <a:pPr>
              <a:defRPr/>
            </a:pPr>
            <a:endParaRPr lang="de-DE" sz="1200" dirty="0">
              <a:solidFill>
                <a:schemeClr val="tx1">
                  <a:lumMod val="75000"/>
                  <a:lumOff val="25000"/>
                </a:schemeClr>
              </a:solidFill>
              <a:latin typeface="FuturaMedium" panose="020B0500000000000000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8"/>
          <p:cNvSpPr txBox="1">
            <a:spLocks noChangeArrowheads="1"/>
          </p:cNvSpPr>
          <p:nvPr userDrawn="1"/>
        </p:nvSpPr>
        <p:spPr bwMode="auto">
          <a:xfrm>
            <a:off x="437665" y="371061"/>
            <a:ext cx="652395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de-DE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uturaMedium" panose="020B0500000000000000" pitchFamily="34" charset="0"/>
              </a:rPr>
              <a:t>Mehr </a:t>
            </a:r>
            <a:r>
              <a:rPr lang="de-DE" sz="1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FuturaMedium" panose="020B0500000000000000" pitchFamily="34" charset="0"/>
              </a:rPr>
              <a:t>öV</a:t>
            </a:r>
            <a:r>
              <a:rPr lang="de-DE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uturaMedium" panose="020B0500000000000000" pitchFamily="34" charset="0"/>
              </a:rPr>
              <a:t> für Herblingen – Erweiterung VBSH-Netz – städtische Volksabstimmung vom 24. September 2017</a:t>
            </a:r>
            <a:endParaRPr lang="de-DE" sz="1200" b="1" dirty="0">
              <a:solidFill>
                <a:schemeClr val="tx1">
                  <a:lumMod val="75000"/>
                  <a:lumOff val="25000"/>
                </a:schemeClr>
              </a:solidFill>
              <a:latin typeface="FuturaMedium" panose="020B0500000000000000" pitchFamily="34" charset="0"/>
            </a:endParaRPr>
          </a:p>
        </p:txBody>
      </p:sp>
      <p:sp>
        <p:nvSpPr>
          <p:cNvPr id="11" name="Textfeld 10"/>
          <p:cNvSpPr txBox="1"/>
          <p:nvPr userDrawn="1"/>
        </p:nvSpPr>
        <p:spPr>
          <a:xfrm>
            <a:off x="10549008" y="332657"/>
            <a:ext cx="11521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CH" sz="11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Medium" panose="020B0500000000000000" pitchFamily="34" charset="0"/>
              </a:rPr>
              <a:t>Seite </a:t>
            </a:r>
            <a:fld id="{AA8F0C6F-1B55-483B-AF41-4BC65BA39CB3}" type="slidenum">
              <a:rPr lang="de-CH" sz="110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Medium" panose="020B0500000000000000" pitchFamily="34" charset="0"/>
              </a:rPr>
              <a:pPr algn="r"/>
              <a:t>‹Nr.›</a:t>
            </a:fld>
            <a:endParaRPr lang="de-CH" sz="1100" dirty="0">
              <a:solidFill>
                <a:schemeClr val="tx1">
                  <a:lumMod val="50000"/>
                  <a:lumOff val="50000"/>
                </a:schemeClr>
              </a:solidFill>
              <a:latin typeface="FuturaMedium" panose="020B0500000000000000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57236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15.xml"/><Relationship Id="rId7" Type="http://schemas.openxmlformats.org/officeDocument/2006/relationships/image" Target="../media/image19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4" Type="http://schemas.openxmlformats.org/officeDocument/2006/relationships/image" Target="../media/image21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image" Target="../media/image3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4.emf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10.jpeg"/><Relationship Id="rId11" Type="http://schemas.openxmlformats.org/officeDocument/2006/relationships/image" Target="../media/image15.jpeg"/><Relationship Id="rId5" Type="http://schemas.openxmlformats.org/officeDocument/2006/relationships/image" Target="../media/image9.jpeg"/><Relationship Id="rId10" Type="http://schemas.openxmlformats.org/officeDocument/2006/relationships/image" Target="../media/image14.jpg"/><Relationship Id="rId4" Type="http://schemas.openxmlformats.org/officeDocument/2006/relationships/image" Target="../media/image8.jpeg"/><Relationship Id="rId9" Type="http://schemas.openxmlformats.org/officeDocument/2006/relationships/image" Target="../media/image13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16.jpeg"/><Relationship Id="rId4" Type="http://schemas.openxmlformats.org/officeDocument/2006/relationships/hyperlink" Target="http://www.google.ch/url?sa=i&amp;rct=j&amp;q=&amp;esrc=s&amp;source=images&amp;cd=&amp;cad=rja&amp;uact=8&amp;ved=0ahUKEwis-_f_n7DQAhXHtRQKHQ8_DQkQjRwIBw&amp;url=http://www.sh-mobil.ch/neues&amp;bvm=bv.139138859,d.d24&amp;psig=AFQjCNEkp7twWsz6ZAb8m4CI3FpnBAesng&amp;ust=1479487870715910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7.jpeg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8.jpeg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8" descr="STSH_PP_Keilelement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550" y="4926414"/>
            <a:ext cx="11791949" cy="15997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076" name="Text Box 6"/>
          <p:cNvSpPr txBox="1">
            <a:spLocks noChangeArrowheads="1"/>
          </p:cNvSpPr>
          <p:nvPr/>
        </p:nvSpPr>
        <p:spPr bwMode="auto">
          <a:xfrm>
            <a:off x="693862" y="1022944"/>
            <a:ext cx="9286384" cy="7325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lnSpc>
                <a:spcPct val="60000"/>
              </a:lnSpc>
              <a:spcBef>
                <a:spcPct val="50000"/>
              </a:spcBef>
            </a:pPr>
            <a:r>
              <a:rPr lang="de-DE" sz="2800" b="1" dirty="0" smtClean="0">
                <a:latin typeface="FuturaMedium" panose="020B0500000000000000" pitchFamily="34" charset="0"/>
              </a:rPr>
              <a:t>Mehr </a:t>
            </a:r>
            <a:r>
              <a:rPr lang="de-DE" sz="2800" b="1" dirty="0" err="1" smtClean="0">
                <a:latin typeface="FuturaMedium" panose="020B0500000000000000" pitchFamily="34" charset="0"/>
              </a:rPr>
              <a:t>öV</a:t>
            </a:r>
            <a:r>
              <a:rPr lang="de-DE" sz="2800" b="1" dirty="0" smtClean="0">
                <a:latin typeface="FuturaMedium" panose="020B0500000000000000" pitchFamily="34" charset="0"/>
              </a:rPr>
              <a:t> für Herblingen</a:t>
            </a:r>
            <a:endParaRPr lang="de-DE" sz="2800" b="1" dirty="0">
              <a:latin typeface="FuturaMedium" panose="020B0500000000000000" pitchFamily="34" charset="0"/>
            </a:endParaRPr>
          </a:p>
          <a:p>
            <a:pPr>
              <a:lnSpc>
                <a:spcPct val="60000"/>
              </a:lnSpc>
              <a:spcBef>
                <a:spcPct val="50000"/>
              </a:spcBef>
            </a:pPr>
            <a:r>
              <a:rPr lang="de-DE" sz="2800" dirty="0" smtClean="0">
                <a:latin typeface="FuturaMedium" panose="020B0500000000000000" pitchFamily="34" charset="0"/>
              </a:rPr>
              <a:t>städtische Volksabstimmung vom 24. September 2017</a:t>
            </a:r>
            <a:endParaRPr lang="de-DE" sz="2800" dirty="0">
              <a:latin typeface="FuturaMedium" panose="020B0500000000000000" pitchFamily="34" charset="0"/>
            </a:endParaRPr>
          </a:p>
        </p:txBody>
      </p:sp>
      <p:sp>
        <p:nvSpPr>
          <p:cNvPr id="3077" name="Text Box 22"/>
          <p:cNvSpPr txBox="1">
            <a:spLocks noChangeArrowheads="1"/>
          </p:cNvSpPr>
          <p:nvPr/>
        </p:nvSpPr>
        <p:spPr bwMode="auto">
          <a:xfrm>
            <a:off x="2897187" y="6092829"/>
            <a:ext cx="18466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de-CH"/>
          </a:p>
        </p:txBody>
      </p:sp>
      <p:sp>
        <p:nvSpPr>
          <p:cNvPr id="2" name="Rechteck 1"/>
          <p:cNvSpPr/>
          <p:nvPr/>
        </p:nvSpPr>
        <p:spPr>
          <a:xfrm rot="18835564">
            <a:off x="6854453" y="2205838"/>
            <a:ext cx="2307340" cy="47705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endParaRPr lang="de-DE" sz="2500" dirty="0">
              <a:ln w="0"/>
              <a:solidFill>
                <a:srgbClr val="C0000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69"/>
          <a:stretch/>
        </p:blipFill>
        <p:spPr>
          <a:xfrm>
            <a:off x="413773" y="2094523"/>
            <a:ext cx="11379642" cy="4400061"/>
          </a:xfrm>
          <a:prstGeom prst="rect">
            <a:avLst/>
          </a:prstGeom>
        </p:spPr>
      </p:pic>
      <p:pic>
        <p:nvPicPr>
          <p:cNvPr id="9" name="Picture 18" descr="STSH_PP_Keilelement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550" y="5168828"/>
            <a:ext cx="11791949" cy="145097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Grafik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7250" y="5863016"/>
            <a:ext cx="3265950" cy="59032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2756">
        <p:fade/>
      </p:transition>
    </mc:Choice>
    <mc:Fallback xmlns="">
      <p:transition spd="med" advTm="2756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"/>
          <p:cNvSpPr txBox="1">
            <a:spLocks noChangeArrowheads="1"/>
          </p:cNvSpPr>
          <p:nvPr>
            <p:custDataLst>
              <p:tags r:id="rId2"/>
            </p:custDataLst>
          </p:nvPr>
        </p:nvSpPr>
        <p:spPr>
          <a:xfrm>
            <a:off x="438150" y="936763"/>
            <a:ext cx="11430195" cy="810051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rmAutofit fontScale="97500"/>
          </a:bodyPr>
          <a:lstStyle/>
          <a:p>
            <a:pPr>
              <a:defRPr/>
            </a:pPr>
            <a:r>
              <a:rPr lang="de-CH" sz="2700" b="1" kern="0" dirty="0" smtClean="0">
                <a:latin typeface="FuturaMedium" panose="020B0500000000000000" pitchFamily="34" charset="0"/>
                <a:ea typeface="Arial" charset="0"/>
                <a:cs typeface="Arial" panose="020B0604020202020204" pitchFamily="34" charset="0"/>
              </a:rPr>
              <a:t>Würdigung: «Herblingen wächst. Die Zeit ist Reif für mehr </a:t>
            </a:r>
            <a:r>
              <a:rPr lang="de-CH" sz="2700" b="1" kern="0" dirty="0" err="1" smtClean="0">
                <a:latin typeface="FuturaMedium" panose="020B0500000000000000" pitchFamily="34" charset="0"/>
                <a:ea typeface="Arial" charset="0"/>
                <a:cs typeface="Arial" panose="020B0604020202020204" pitchFamily="34" charset="0"/>
              </a:rPr>
              <a:t>öV</a:t>
            </a:r>
            <a:r>
              <a:rPr lang="de-CH" sz="2700" b="1" kern="0" dirty="0" smtClean="0">
                <a:latin typeface="FuturaMedium" panose="020B0500000000000000" pitchFamily="34" charset="0"/>
                <a:ea typeface="Arial" charset="0"/>
                <a:cs typeface="Arial" panose="020B0604020202020204" pitchFamily="34" charset="0"/>
              </a:rPr>
              <a:t>!»</a:t>
            </a:r>
            <a:endParaRPr lang="de-CH" sz="2700" b="1" kern="0" dirty="0">
              <a:latin typeface="FuturaMedium" panose="020B0500000000000000" pitchFamily="34" charset="0"/>
              <a:ea typeface="Arial" charset="0"/>
              <a:cs typeface="Arial" panose="020B0604020202020204" pitchFamily="34" charset="0"/>
            </a:endParaRPr>
          </a:p>
        </p:txBody>
      </p:sp>
      <p:grpSp>
        <p:nvGrpSpPr>
          <p:cNvPr id="3" name="Gruppieren 2"/>
          <p:cNvGrpSpPr/>
          <p:nvPr/>
        </p:nvGrpSpPr>
        <p:grpSpPr>
          <a:xfrm>
            <a:off x="5938637" y="1770936"/>
            <a:ext cx="5763398" cy="4882839"/>
            <a:chOff x="5938637" y="1799511"/>
            <a:chExt cx="5763398" cy="4882839"/>
          </a:xfrm>
        </p:grpSpPr>
        <p:sp>
          <p:nvSpPr>
            <p:cNvPr id="5" name="Rectangle 2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>
            <a:xfrm>
              <a:off x="6914230" y="1799511"/>
              <a:ext cx="4787805" cy="4882839"/>
            </a:xfrm>
            <a:prstGeom prst="rect">
              <a:avLst/>
            </a:prstGeom>
            <a:noFill/>
          </p:spPr>
          <p:txBody>
            <a:bodyPr vert="horz" lIns="0" tIns="0" rIns="0" bIns="0" rtlCol="0" anchor="t" anchorCtr="0">
              <a:normAutofit fontScale="97500"/>
            </a:bodyPr>
            <a:lstStyle/>
            <a:p>
              <a:pPr marL="342900" indent="-342900">
                <a:spcAft>
                  <a:spcPts val="800"/>
                </a:spcAft>
                <a:buFont typeface="Symbol" panose="05050102010706020507" pitchFamily="18" charset="2"/>
                <a:buChar char="-"/>
                <a:defRPr/>
              </a:pPr>
              <a:r>
                <a:rPr lang="de-CH" sz="1800" b="1" kern="0" dirty="0">
                  <a:latin typeface="FuturaMedium" panose="020B0500000000000000" pitchFamily="34" charset="0"/>
                  <a:ea typeface="Arial" charset="0"/>
                  <a:cs typeface="Arial" panose="020B0604020202020204" pitchFamily="34" charset="0"/>
                </a:rPr>
                <a:t>jährliche Bruttokosten 895’000 </a:t>
              </a:r>
              <a:r>
                <a:rPr lang="de-CH" sz="1800" b="1" kern="0" dirty="0" smtClean="0">
                  <a:latin typeface="FuturaMedium" panose="020B0500000000000000" pitchFamily="34" charset="0"/>
                  <a:ea typeface="Arial" charset="0"/>
                  <a:cs typeface="Arial" panose="020B0604020202020204" pitchFamily="34" charset="0"/>
                </a:rPr>
                <a:t>Franken</a:t>
              </a:r>
              <a:r>
                <a:rPr lang="de-CH" sz="1800" kern="0" dirty="0" smtClean="0">
                  <a:latin typeface="FuturaMedium" panose="020B0500000000000000" pitchFamily="34" charset="0"/>
                  <a:ea typeface="Arial" charset="0"/>
                  <a:cs typeface="Arial" panose="020B0604020202020204" pitchFamily="34" charset="0"/>
                </a:rPr>
                <a:t/>
              </a:r>
              <a:br>
                <a:rPr lang="de-CH" sz="1800" kern="0" dirty="0" smtClean="0">
                  <a:latin typeface="FuturaMedium" panose="020B0500000000000000" pitchFamily="34" charset="0"/>
                  <a:ea typeface="Arial" charset="0"/>
                  <a:cs typeface="Arial" panose="020B0604020202020204" pitchFamily="34" charset="0"/>
                </a:rPr>
              </a:br>
              <a:r>
                <a:rPr lang="de-CH" sz="1800" kern="0" dirty="0" smtClean="0">
                  <a:latin typeface="FuturaMedium" panose="020B0500000000000000" pitchFamily="34" charset="0"/>
                  <a:ea typeface="Arial" charset="0"/>
                  <a:cs typeface="Arial" panose="020B0604020202020204" pitchFamily="34" charset="0"/>
                </a:rPr>
                <a:t>Abgeltung für Stadt: +570’000 Franken</a:t>
              </a:r>
              <a:endParaRPr lang="de-CH" sz="1800" kern="0" dirty="0">
                <a:latin typeface="FuturaMedium" panose="020B0500000000000000" pitchFamily="34" charset="0"/>
                <a:ea typeface="Arial" charset="0"/>
                <a:cs typeface="Arial" panose="020B0604020202020204" pitchFamily="34" charset="0"/>
              </a:endParaRPr>
            </a:p>
            <a:p>
              <a:pPr marL="342900" indent="-342900">
                <a:spcAft>
                  <a:spcPts val="800"/>
                </a:spcAft>
                <a:buFont typeface="Symbol" panose="05050102010706020507" pitchFamily="18" charset="2"/>
                <a:buChar char="-"/>
                <a:defRPr/>
              </a:pPr>
              <a:r>
                <a:rPr lang="de-CH" sz="1800" b="1" kern="0" dirty="0" smtClean="0">
                  <a:latin typeface="FuturaMedium" panose="020B0500000000000000" pitchFamily="34" charset="0"/>
                  <a:ea typeface="Arial" charset="0"/>
                  <a:cs typeface="Arial" panose="020B0604020202020204" pitchFamily="34" charset="0"/>
                </a:rPr>
                <a:t>Fahrgastpotenzial </a:t>
              </a:r>
              <a:r>
                <a:rPr lang="de-CH" sz="1800" b="1" kern="0" dirty="0">
                  <a:latin typeface="FuturaMedium" panose="020B0500000000000000" pitchFamily="34" charset="0"/>
                  <a:ea typeface="Arial" charset="0"/>
                  <a:cs typeface="Arial" panose="020B0604020202020204" pitchFamily="34" charset="0"/>
                </a:rPr>
                <a:t>Linie 9 ist unsicher</a:t>
              </a:r>
              <a:br>
                <a:rPr lang="de-CH" sz="1800" b="1" kern="0" dirty="0">
                  <a:latin typeface="FuturaMedium" panose="020B0500000000000000" pitchFamily="34" charset="0"/>
                  <a:ea typeface="Arial" charset="0"/>
                  <a:cs typeface="Arial" panose="020B0604020202020204" pitchFamily="34" charset="0"/>
                </a:rPr>
              </a:br>
              <a:r>
                <a:rPr lang="de-CH" sz="1800" kern="0" dirty="0" smtClean="0">
                  <a:latin typeface="FuturaMedium" panose="020B0500000000000000" pitchFamily="34" charset="0"/>
                  <a:ea typeface="Arial" charset="0"/>
                  <a:cs typeface="Arial" panose="020B0604020202020204" pitchFamily="34" charset="0"/>
                </a:rPr>
                <a:t>risikomindernd wirkt:</a:t>
              </a:r>
              <a:br>
                <a:rPr lang="de-CH" sz="1800" kern="0" dirty="0" smtClean="0">
                  <a:latin typeface="FuturaMedium" panose="020B0500000000000000" pitchFamily="34" charset="0"/>
                  <a:ea typeface="Arial" charset="0"/>
                  <a:cs typeface="Arial" panose="020B0604020202020204" pitchFamily="34" charset="0"/>
                </a:rPr>
              </a:br>
              <a:r>
                <a:rPr lang="de-CH" sz="1800" kern="0" dirty="0" smtClean="0">
                  <a:latin typeface="FuturaMedium" panose="020B0500000000000000" pitchFamily="34" charset="0"/>
                  <a:ea typeface="Arial" charset="0"/>
                  <a:cs typeface="Arial" panose="020B0604020202020204" pitchFamily="34" charset="0"/>
                  <a:sym typeface="Wingdings 3" panose="05040102010807070707" pitchFamily="18" charset="2"/>
                </a:rPr>
                <a:t> vorerst zurückhaltende </a:t>
              </a:r>
              <a:r>
                <a:rPr lang="de-CH" sz="1800" kern="0" dirty="0" smtClean="0">
                  <a:latin typeface="FuturaMedium" panose="020B0500000000000000" pitchFamily="34" charset="0"/>
                  <a:ea typeface="Arial" charset="0"/>
                  <a:cs typeface="Arial" panose="020B0604020202020204" pitchFamily="34" charset="0"/>
                </a:rPr>
                <a:t>Fahrplangestaltung</a:t>
              </a:r>
              <a:br>
                <a:rPr lang="de-CH" sz="1800" kern="0" dirty="0" smtClean="0">
                  <a:latin typeface="FuturaMedium" panose="020B0500000000000000" pitchFamily="34" charset="0"/>
                  <a:ea typeface="Arial" charset="0"/>
                  <a:cs typeface="Arial" panose="020B0604020202020204" pitchFamily="34" charset="0"/>
                </a:rPr>
              </a:br>
              <a:r>
                <a:rPr lang="de-CH" sz="1800" kern="0" dirty="0">
                  <a:latin typeface="FuturaMedium" panose="020B0500000000000000" pitchFamily="34" charset="0"/>
                  <a:ea typeface="Arial" charset="0"/>
                  <a:cs typeface="Arial" panose="020B0604020202020204" pitchFamily="34" charset="0"/>
                  <a:sym typeface="Wingdings 3" panose="05040102010807070707" pitchFamily="18" charset="2"/>
                </a:rPr>
                <a:t> </a:t>
              </a:r>
              <a:r>
                <a:rPr lang="de-CH" sz="1800" kern="0" dirty="0" smtClean="0">
                  <a:latin typeface="FuturaMedium" panose="020B0500000000000000" pitchFamily="34" charset="0"/>
                  <a:ea typeface="Arial" charset="0"/>
                  <a:cs typeface="Arial" panose="020B0604020202020204" pitchFamily="34" charset="0"/>
                  <a:sym typeface="Wingdings 3" panose="05040102010807070707" pitchFamily="18" charset="2"/>
                </a:rPr>
                <a:t>Fahrg</a:t>
              </a:r>
              <a:r>
                <a:rPr lang="de-CH" sz="1800" kern="0" dirty="0" smtClean="0">
                  <a:latin typeface="FuturaMedium" panose="020B0500000000000000" pitchFamily="34" charset="0"/>
                  <a:ea typeface="Arial" charset="0"/>
                  <a:cs typeface="Arial" panose="020B0604020202020204" pitchFamily="34" charset="0"/>
                </a:rPr>
                <a:t>äste </a:t>
              </a:r>
              <a:r>
                <a:rPr lang="de-CH" sz="1800" kern="0" dirty="0">
                  <a:latin typeface="FuturaMedium" panose="020B0500000000000000" pitchFamily="34" charset="0"/>
                  <a:ea typeface="Arial" charset="0"/>
                  <a:cs typeface="Arial" panose="020B0604020202020204" pitchFamily="34" charset="0"/>
                </a:rPr>
                <a:t>von </a:t>
              </a:r>
              <a:r>
                <a:rPr lang="de-CH" sz="1800" kern="0" dirty="0" smtClean="0">
                  <a:latin typeface="FuturaMedium" panose="020B0500000000000000" pitchFamily="34" charset="0"/>
                  <a:ea typeface="Arial" charset="0"/>
                  <a:cs typeface="Arial" panose="020B0604020202020204" pitchFamily="34" charset="0"/>
                </a:rPr>
                <a:t>bisherigem Linienast 6</a:t>
              </a:r>
            </a:p>
            <a:p>
              <a:pPr marL="342900" indent="-342900">
                <a:spcAft>
                  <a:spcPts val="800"/>
                </a:spcAft>
                <a:buFont typeface="Symbol" panose="05050102010706020507" pitchFamily="18" charset="2"/>
                <a:buChar char="-"/>
                <a:defRPr/>
              </a:pPr>
              <a:r>
                <a:rPr lang="de-CH" sz="1800" b="1" kern="0" dirty="0" smtClean="0">
                  <a:latin typeface="FuturaMedium" panose="020B0500000000000000" pitchFamily="34" charset="0"/>
                  <a:ea typeface="Arial" charset="0"/>
                  <a:cs typeface="Arial" panose="020B0604020202020204" pitchFamily="34" charset="0"/>
                </a:rPr>
                <a:t>keine </a:t>
              </a:r>
              <a:r>
                <a:rPr lang="de-CH" sz="1800" b="1" kern="0" dirty="0">
                  <a:latin typeface="FuturaMedium" panose="020B0500000000000000" pitchFamily="34" charset="0"/>
                  <a:ea typeface="Arial" charset="0"/>
                  <a:cs typeface="Arial" panose="020B0604020202020204" pitchFamily="34" charset="0"/>
                </a:rPr>
                <a:t>direkten Fahrten mehr über </a:t>
              </a:r>
              <a:r>
                <a:rPr lang="de-CH" sz="1800" b="1" kern="0" dirty="0" err="1">
                  <a:latin typeface="FuturaMedium" panose="020B0500000000000000" pitchFamily="34" charset="0"/>
                  <a:ea typeface="Arial" charset="0"/>
                  <a:cs typeface="Arial" panose="020B0604020202020204" pitchFamily="34" charset="0"/>
                </a:rPr>
                <a:t>Majorenacker</a:t>
              </a:r>
              <a:r>
                <a:rPr lang="de-CH" sz="1800" kern="0" dirty="0">
                  <a:latin typeface="FuturaMedium" panose="020B0500000000000000" pitchFamily="34" charset="0"/>
                  <a:ea typeface="Arial" charset="0"/>
                  <a:cs typeface="Arial" panose="020B0604020202020204" pitchFamily="34" charset="0"/>
                </a:rPr>
                <a:t/>
              </a:r>
              <a:br>
                <a:rPr lang="de-CH" sz="1800" kern="0" dirty="0">
                  <a:latin typeface="FuturaMedium" panose="020B0500000000000000" pitchFamily="34" charset="0"/>
                  <a:ea typeface="Arial" charset="0"/>
                  <a:cs typeface="Arial" panose="020B0604020202020204" pitchFamily="34" charset="0"/>
                </a:rPr>
              </a:br>
              <a:r>
                <a:rPr lang="de-CH" sz="1800" kern="0" dirty="0" smtClean="0">
                  <a:latin typeface="FuturaMedium" panose="020B0500000000000000" pitchFamily="34" charset="0"/>
                  <a:ea typeface="Arial" charset="0"/>
                  <a:cs typeface="Arial" panose="020B0604020202020204" pitchFamily="34" charset="0"/>
                  <a:sym typeface="Wingdings 3" panose="05040102010807070707" pitchFamily="18" charset="2"/>
                </a:rPr>
                <a:t> Nachteil verkraftbar: </a:t>
              </a:r>
              <a:r>
                <a:rPr lang="de-CH" sz="1800" kern="0" dirty="0" smtClean="0">
                  <a:latin typeface="FuturaMedium" panose="020B0500000000000000" pitchFamily="34" charset="0"/>
                  <a:ea typeface="Arial" charset="0"/>
                  <a:cs typeface="Arial" panose="020B0604020202020204" pitchFamily="34" charset="0"/>
                </a:rPr>
                <a:t>bisher Ø </a:t>
              </a:r>
              <a:r>
                <a:rPr lang="de-CH" sz="1800" kern="0" dirty="0">
                  <a:latin typeface="FuturaMedium" panose="020B0500000000000000" pitchFamily="34" charset="0"/>
                  <a:ea typeface="Arial" charset="0"/>
                  <a:cs typeface="Arial" panose="020B0604020202020204" pitchFamily="34" charset="0"/>
                </a:rPr>
                <a:t>2 </a:t>
              </a:r>
              <a:r>
                <a:rPr lang="de-CH" sz="1800" kern="0" dirty="0" smtClean="0">
                  <a:latin typeface="FuturaMedium" panose="020B0500000000000000" pitchFamily="34" charset="0"/>
                  <a:ea typeface="Arial" charset="0"/>
                  <a:cs typeface="Arial" panose="020B0604020202020204" pitchFamily="34" charset="0"/>
                </a:rPr>
                <a:t>Fahrgäste</a:t>
              </a:r>
              <a:endParaRPr lang="de-CH" sz="1800" kern="0" dirty="0">
                <a:latin typeface="FuturaMedium" panose="020B0500000000000000" pitchFamily="34" charset="0"/>
                <a:ea typeface="Arial" charset="0"/>
                <a:cs typeface="Arial" panose="020B0604020202020204" pitchFamily="34" charset="0"/>
              </a:endParaRPr>
            </a:p>
            <a:p>
              <a:pPr marL="342900" indent="-342900">
                <a:buFont typeface="Symbol" panose="05050102010706020507" pitchFamily="18" charset="2"/>
                <a:buChar char="-"/>
                <a:defRPr/>
              </a:pPr>
              <a:endParaRPr lang="de-CH" sz="1800" kern="0" dirty="0" smtClean="0">
                <a:latin typeface="FuturaMedium" panose="020B0500000000000000" pitchFamily="34" charset="0"/>
                <a:ea typeface="Arial" charset="0"/>
                <a:cs typeface="Arial" panose="020B0604020202020204" pitchFamily="34" charset="0"/>
              </a:endParaRPr>
            </a:p>
            <a:p>
              <a:pPr marL="342900" indent="-342900">
                <a:buFont typeface="Symbol" panose="05050102010706020507" pitchFamily="18" charset="2"/>
                <a:buChar char="-"/>
                <a:defRPr/>
              </a:pPr>
              <a:endParaRPr lang="de-CH" sz="1800" kern="0" dirty="0">
                <a:latin typeface="FuturaMedium" panose="020B0500000000000000" pitchFamily="34" charset="0"/>
                <a:ea typeface="Arial" charset="0"/>
                <a:cs typeface="Arial" panose="020B0604020202020204" pitchFamily="34" charset="0"/>
              </a:endParaRPr>
            </a:p>
          </p:txBody>
        </p:sp>
        <p:pic>
          <p:nvPicPr>
            <p:cNvPr id="8" name="Picture 6" descr="http://immofacile.ca/wp-content/uploads/2015/08/arrowsketch-iconbug.png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38637" y="1799511"/>
              <a:ext cx="1018457" cy="10184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" name="Gruppieren 1"/>
          <p:cNvGrpSpPr/>
          <p:nvPr/>
        </p:nvGrpSpPr>
        <p:grpSpPr>
          <a:xfrm>
            <a:off x="389874" y="1799511"/>
            <a:ext cx="5310838" cy="4971270"/>
            <a:chOff x="389874" y="1799511"/>
            <a:chExt cx="5310838" cy="4971270"/>
          </a:xfrm>
        </p:grpSpPr>
        <p:sp>
          <p:nvSpPr>
            <p:cNvPr id="4" name="Rectangle 2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>
            <a:xfrm>
              <a:off x="1619251" y="1799511"/>
              <a:ext cx="4081461" cy="4971270"/>
            </a:xfrm>
            <a:prstGeom prst="rect">
              <a:avLst/>
            </a:prstGeom>
            <a:noFill/>
          </p:spPr>
          <p:txBody>
            <a:bodyPr vert="horz" lIns="0" tIns="0" rIns="0" bIns="0" rtlCol="0" anchor="t" anchorCtr="0">
              <a:normAutofit fontScale="97500"/>
            </a:bodyPr>
            <a:lstStyle/>
            <a:p>
              <a:pPr marL="342900" indent="-342900">
                <a:spcAft>
                  <a:spcPts val="800"/>
                </a:spcAft>
                <a:buFont typeface="Wingdings" panose="05000000000000000000" pitchFamily="2" charset="2"/>
                <a:buChar char="ü"/>
                <a:defRPr/>
              </a:pPr>
              <a:r>
                <a:rPr lang="de-CH" sz="1800" b="1" kern="0" dirty="0">
                  <a:latin typeface="FuturaMedium" panose="020B0500000000000000" pitchFamily="34" charset="0"/>
                  <a:ea typeface="Arial" charset="0"/>
                  <a:cs typeface="Arial" panose="020B0604020202020204" pitchFamily="34" charset="0"/>
                </a:rPr>
                <a:t>adäquate Anbindung Quartier </a:t>
              </a:r>
              <a:r>
                <a:rPr lang="de-CH" sz="1800" b="1" kern="0" dirty="0" err="1">
                  <a:latin typeface="FuturaMedium" panose="020B0500000000000000" pitchFamily="34" charset="0"/>
                  <a:ea typeface="Arial" charset="0"/>
                  <a:cs typeface="Arial" panose="020B0604020202020204" pitchFamily="34" charset="0"/>
                </a:rPr>
                <a:t>Trenschen</a:t>
              </a:r>
              <a:r>
                <a:rPr lang="de-CH" sz="1800" b="1" kern="0" dirty="0">
                  <a:latin typeface="FuturaMedium" panose="020B0500000000000000" pitchFamily="34" charset="0"/>
                  <a:ea typeface="Arial" charset="0"/>
                  <a:cs typeface="Arial" panose="020B0604020202020204" pitchFamily="34" charset="0"/>
                </a:rPr>
                <a:t> an VBSH-Netz</a:t>
              </a:r>
            </a:p>
            <a:p>
              <a:pPr marL="342900" indent="-342900">
                <a:spcAft>
                  <a:spcPts val="800"/>
                </a:spcAft>
                <a:buFont typeface="Wingdings" panose="05000000000000000000" pitchFamily="2" charset="2"/>
                <a:buChar char="ü"/>
                <a:defRPr/>
              </a:pPr>
              <a:r>
                <a:rPr lang="de-CH" sz="1800" b="1" kern="0" dirty="0" smtClean="0">
                  <a:latin typeface="FuturaMedium" panose="020B0500000000000000" pitchFamily="34" charset="0"/>
                  <a:ea typeface="Arial" charset="0"/>
                  <a:cs typeface="Arial" panose="020B0604020202020204" pitchFamily="34" charset="0"/>
                </a:rPr>
                <a:t>Anbindung </a:t>
              </a:r>
              <a:r>
                <a:rPr lang="de-CH" sz="1800" b="1" kern="0" dirty="0">
                  <a:latin typeface="FuturaMedium" panose="020B0500000000000000" pitchFamily="34" charset="0"/>
                  <a:ea typeface="Arial" charset="0"/>
                  <a:cs typeface="Arial" panose="020B0604020202020204" pitchFamily="34" charset="0"/>
                </a:rPr>
                <a:t>S-Bahn-Station Herblingen</a:t>
              </a:r>
            </a:p>
            <a:p>
              <a:pPr marL="342900" indent="-342900">
                <a:spcAft>
                  <a:spcPts val="800"/>
                </a:spcAft>
                <a:buFont typeface="Wingdings" panose="05000000000000000000" pitchFamily="2" charset="2"/>
                <a:buChar char="ü"/>
                <a:defRPr/>
              </a:pPr>
              <a:r>
                <a:rPr lang="de-CH" sz="1800" b="1" kern="0" dirty="0" smtClean="0">
                  <a:latin typeface="FuturaMedium" panose="020B0500000000000000" pitchFamily="34" charset="0"/>
                  <a:ea typeface="Arial" charset="0"/>
                  <a:cs typeface="Arial" panose="020B0604020202020204" pitchFamily="34" charset="0"/>
                </a:rPr>
                <a:t>Anbindung Entwicklungs-</a:t>
              </a:r>
              <a:r>
                <a:rPr lang="de-CH" sz="1800" b="1" kern="0" dirty="0" err="1" smtClean="0">
                  <a:latin typeface="FuturaMedium" panose="020B0500000000000000" pitchFamily="34" charset="0"/>
                  <a:ea typeface="Arial" charset="0"/>
                  <a:cs typeface="Arial" panose="020B0604020202020204" pitchFamily="34" charset="0"/>
                </a:rPr>
                <a:t>schwerpunkt</a:t>
              </a:r>
              <a:r>
                <a:rPr lang="de-CH" sz="1800" b="1" kern="0" dirty="0" smtClean="0">
                  <a:latin typeface="FuturaMedium" panose="020B0500000000000000" pitchFamily="34" charset="0"/>
                  <a:ea typeface="Arial" charset="0"/>
                  <a:cs typeface="Arial" panose="020B0604020202020204" pitchFamily="34" charset="0"/>
                </a:rPr>
                <a:t> </a:t>
              </a:r>
              <a:r>
                <a:rPr lang="de-CH" sz="1800" b="1" kern="0" dirty="0" err="1">
                  <a:latin typeface="FuturaMedium" panose="020B0500000000000000" pitchFamily="34" charset="0"/>
                  <a:ea typeface="Arial" charset="0"/>
                  <a:cs typeface="Arial" panose="020B0604020202020204" pitchFamily="34" charset="0"/>
                </a:rPr>
                <a:t>Herblingertal</a:t>
              </a:r>
              <a:r>
                <a:rPr lang="de-CH" sz="1800" b="1" kern="0" dirty="0">
                  <a:latin typeface="FuturaMedium" panose="020B0500000000000000" pitchFamily="34" charset="0"/>
                  <a:ea typeface="Arial" charset="0"/>
                  <a:cs typeface="Arial" panose="020B0604020202020204" pitchFamily="34" charset="0"/>
                </a:rPr>
                <a:t> </a:t>
              </a:r>
              <a:r>
                <a:rPr lang="de-CH" sz="1800" kern="0" dirty="0">
                  <a:latin typeface="FuturaMedium" panose="020B0500000000000000" pitchFamily="34" charset="0"/>
                  <a:ea typeface="Arial" charset="0"/>
                  <a:cs typeface="Arial" panose="020B0604020202020204" pitchFamily="34" charset="0"/>
                </a:rPr>
                <a:t>(Industrie/Gewerbe/Stadion)</a:t>
              </a:r>
            </a:p>
            <a:p>
              <a:pPr marL="342900" indent="-342900">
                <a:spcAft>
                  <a:spcPts val="800"/>
                </a:spcAft>
                <a:buFont typeface="Wingdings" panose="05000000000000000000" pitchFamily="2" charset="2"/>
                <a:buChar char="ü"/>
                <a:defRPr/>
              </a:pPr>
              <a:r>
                <a:rPr lang="de-CH" sz="1800" b="1" kern="0" dirty="0" smtClean="0">
                  <a:latin typeface="FuturaMedium" panose="020B0500000000000000" pitchFamily="34" charset="0"/>
                  <a:ea typeface="Arial" charset="0"/>
                  <a:cs typeface="Arial" panose="020B0604020202020204" pitchFamily="34" charset="0"/>
                </a:rPr>
                <a:t>Direktverbindung</a:t>
              </a:r>
              <a:br>
                <a:rPr lang="de-CH" sz="1800" b="1" kern="0" dirty="0" smtClean="0">
                  <a:latin typeface="FuturaMedium" panose="020B0500000000000000" pitchFamily="34" charset="0"/>
                  <a:ea typeface="Arial" charset="0"/>
                  <a:cs typeface="Arial" panose="020B0604020202020204" pitchFamily="34" charset="0"/>
                </a:rPr>
              </a:br>
              <a:r>
                <a:rPr lang="de-CH" sz="1800" b="1" kern="0" dirty="0" smtClean="0">
                  <a:latin typeface="FuturaMedium" panose="020B0500000000000000" pitchFamily="34" charset="0"/>
                  <a:ea typeface="Arial" charset="0"/>
                  <a:cs typeface="Arial" panose="020B0604020202020204" pitchFamily="34" charset="0"/>
                </a:rPr>
                <a:t>Ebnat </a:t>
              </a:r>
              <a:r>
                <a:rPr lang="de-CH" sz="1800" b="1" kern="0" dirty="0" smtClean="0">
                  <a:latin typeface="FuturaMedium" panose="020B0500000000000000" pitchFamily="34" charset="0"/>
                  <a:ea typeface="Arial" charset="0"/>
                  <a:cs typeface="Arial" panose="020B0604020202020204" pitchFamily="34" charset="0"/>
                  <a:sym typeface="Wingdings" panose="05000000000000000000" pitchFamily="2" charset="2"/>
                </a:rPr>
                <a:t></a:t>
              </a:r>
              <a:r>
                <a:rPr lang="de-CH" sz="1800" b="1" kern="0" dirty="0" smtClean="0">
                  <a:latin typeface="FuturaMedium" panose="020B0500000000000000" pitchFamily="34" charset="0"/>
                  <a:ea typeface="Arial" charset="0"/>
                  <a:cs typeface="Arial" panose="020B0604020202020204" pitchFamily="34" charset="0"/>
                </a:rPr>
                <a:t> </a:t>
              </a:r>
              <a:r>
                <a:rPr lang="de-CH" sz="1800" b="1" kern="0" dirty="0">
                  <a:latin typeface="FuturaMedium" panose="020B0500000000000000" pitchFamily="34" charset="0"/>
                  <a:ea typeface="Arial" charset="0"/>
                  <a:cs typeface="Arial" panose="020B0604020202020204" pitchFamily="34" charset="0"/>
                </a:rPr>
                <a:t>Herblingen</a:t>
              </a:r>
            </a:p>
            <a:p>
              <a:pPr marL="342900" indent="-342900">
                <a:spcAft>
                  <a:spcPts val="800"/>
                </a:spcAft>
                <a:buFont typeface="Wingdings" panose="05000000000000000000" pitchFamily="2" charset="2"/>
                <a:buChar char="ü"/>
                <a:defRPr/>
              </a:pPr>
              <a:r>
                <a:rPr lang="de-CH" sz="1800" b="1" kern="0" dirty="0" smtClean="0">
                  <a:latin typeface="FuturaMedium" panose="020B0500000000000000" pitchFamily="34" charset="0"/>
                  <a:ea typeface="Arial" charset="0"/>
                  <a:cs typeface="Arial" panose="020B0604020202020204" pitchFamily="34" charset="0"/>
                </a:rPr>
                <a:t>Kompatibilität </a:t>
              </a:r>
              <a:r>
                <a:rPr lang="de-CH" sz="1800" b="1" kern="0" dirty="0">
                  <a:latin typeface="FuturaMedium" panose="020B0500000000000000" pitchFamily="34" charset="0"/>
                  <a:ea typeface="Arial" charset="0"/>
                  <a:cs typeface="Arial" panose="020B0604020202020204" pitchFamily="34" charset="0"/>
                </a:rPr>
                <a:t>Anbindung Pantli</a:t>
              </a:r>
            </a:p>
            <a:p>
              <a:pPr marL="342900" indent="-342900">
                <a:spcAft>
                  <a:spcPts val="800"/>
                </a:spcAft>
                <a:buFont typeface="Wingdings" panose="05000000000000000000" pitchFamily="2" charset="2"/>
                <a:buChar char="ü"/>
                <a:defRPr/>
              </a:pPr>
              <a:r>
                <a:rPr lang="de-CH" sz="1800" b="1" kern="0" dirty="0" smtClean="0">
                  <a:latin typeface="FuturaMedium" panose="020B0500000000000000" pitchFamily="34" charset="0"/>
                  <a:ea typeface="Arial" charset="0"/>
                  <a:cs typeface="Arial" panose="020B0604020202020204" pitchFamily="34" charset="0"/>
                </a:rPr>
                <a:t>Mitfinanzierung </a:t>
              </a:r>
              <a:r>
                <a:rPr lang="de-CH" sz="1800" b="1" kern="0" dirty="0">
                  <a:latin typeface="FuturaMedium" panose="020B0500000000000000" pitchFamily="34" charset="0"/>
                  <a:ea typeface="Arial" charset="0"/>
                  <a:cs typeface="Arial" panose="020B0604020202020204" pitchFamily="34" charset="0"/>
                </a:rPr>
                <a:t>durch Agglomerationsprogramm</a:t>
              </a:r>
              <a:endParaRPr lang="de-CH" sz="1800" kern="0" dirty="0" smtClean="0">
                <a:latin typeface="FuturaMedium" panose="020B0500000000000000" pitchFamily="34" charset="0"/>
                <a:ea typeface="Arial" charset="0"/>
                <a:cs typeface="Arial" panose="020B0604020202020204" pitchFamily="34" charset="0"/>
              </a:endParaRPr>
            </a:p>
          </p:txBody>
        </p:sp>
        <p:pic>
          <p:nvPicPr>
            <p:cNvPr id="9" name="Picture 8" descr="https://www.jasonfox.me/wp-content/uploads/2013/05/arrow-black-14.png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9874" y="1799511"/>
              <a:ext cx="1181100" cy="10668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2268752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7669">
        <p:fade/>
      </p:transition>
    </mc:Choice>
    <mc:Fallback xmlns="">
      <p:transition spd="med" advTm="17669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438151" y="936763"/>
            <a:ext cx="11298220" cy="810051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rmAutofit fontScale="97500"/>
          </a:bodyPr>
          <a:lstStyle/>
          <a:p>
            <a:pPr>
              <a:defRPr/>
            </a:pPr>
            <a:r>
              <a:rPr lang="de-CH" sz="2700" b="1" kern="0" dirty="0" smtClean="0">
                <a:latin typeface="FuturaMedium" panose="020B0500000000000000" pitchFamily="34" charset="0"/>
                <a:ea typeface="Arial" charset="0"/>
                <a:cs typeface="Arial" panose="020B0604020202020204" pitchFamily="34" charset="0"/>
              </a:rPr>
              <a:t>Übrigens, …</a:t>
            </a:r>
            <a:endParaRPr lang="de-CH" sz="2700" b="1" kern="0" dirty="0">
              <a:latin typeface="FuturaMedium" panose="020B0500000000000000" pitchFamily="34" charset="0"/>
              <a:ea typeface="Arial" charset="0"/>
              <a:cs typeface="Arial" panose="020B0604020202020204" pitchFamily="34" charset="0"/>
            </a:endParaRPr>
          </a:p>
        </p:txBody>
      </p:sp>
      <p:sp>
        <p:nvSpPr>
          <p:cNvPr id="12" name="Inhaltsplatzhalter 3"/>
          <p:cNvSpPr txBox="1">
            <a:spLocks/>
          </p:cNvSpPr>
          <p:nvPr/>
        </p:nvSpPr>
        <p:spPr>
          <a:xfrm>
            <a:off x="433137" y="1671808"/>
            <a:ext cx="11180686" cy="15898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Bef>
                <a:spcPts val="0"/>
              </a:spcBef>
              <a:spcAft>
                <a:spcPts val="1200"/>
              </a:spcAft>
              <a:buNone/>
            </a:pPr>
            <a:r>
              <a:rPr lang="de-CH" sz="2000" b="1" dirty="0" smtClean="0">
                <a:latin typeface="FuturaMedium" panose="020B0500000000000000" pitchFamily="34" charset="0"/>
              </a:rPr>
              <a:t>… es lohnt sich nicht, über den Haltestellen-Namen «</a:t>
            </a:r>
            <a:r>
              <a:rPr lang="de-CH" sz="2000" b="1" dirty="0" err="1" smtClean="0">
                <a:latin typeface="FuturaMedium" panose="020B0500000000000000" pitchFamily="34" charset="0"/>
              </a:rPr>
              <a:t>Gründliacker</a:t>
            </a:r>
            <a:r>
              <a:rPr lang="de-CH" sz="2000" b="1" dirty="0" smtClean="0">
                <a:latin typeface="FuturaMedium" panose="020B0500000000000000" pitchFamily="34" charset="0"/>
              </a:rPr>
              <a:t>» zu streiten.</a:t>
            </a:r>
          </a:p>
          <a:p>
            <a:pPr marL="0" indent="0" fontAlgn="auto">
              <a:spcBef>
                <a:spcPts val="0"/>
              </a:spcBef>
              <a:spcAft>
                <a:spcPts val="1200"/>
              </a:spcAft>
              <a:buNone/>
            </a:pPr>
            <a:r>
              <a:rPr lang="de-CH" sz="2000" dirty="0" smtClean="0">
                <a:latin typeface="FuturaMedium" panose="020B0500000000000000" pitchFamily="34" charset="0"/>
              </a:rPr>
              <a:t>Der Quartierverein Herblingen wird für die Namensgebung eine Umfrage machen. </a:t>
            </a:r>
          </a:p>
          <a:p>
            <a:pPr marL="0" indent="0" fontAlgn="auto">
              <a:spcBef>
                <a:spcPts val="0"/>
              </a:spcBef>
              <a:spcAft>
                <a:spcPts val="1200"/>
              </a:spcAft>
              <a:buNone/>
            </a:pPr>
            <a:r>
              <a:rPr lang="de-CH" sz="2000" dirty="0" smtClean="0">
                <a:latin typeface="FuturaMedium" panose="020B0500000000000000" pitchFamily="34" charset="0"/>
              </a:rPr>
              <a:t> </a:t>
            </a:r>
            <a:endParaRPr lang="de-CH" sz="1600" dirty="0" smtClean="0">
              <a:latin typeface="FuturaMedium" panose="020B0500000000000000" pitchFamily="34" charset="0"/>
            </a:endParaRPr>
          </a:p>
        </p:txBody>
      </p:sp>
      <p:pic>
        <p:nvPicPr>
          <p:cNvPr id="4" name="Grafik 3" descr="C:\Daten\Stadtrat\-- VBSH RVSH Verkehr\VBSH\Erweiterung_Liniennetz_Herblingen\Kommunikation_vor_GV_Herblingen\20170303_Linie5_Gründliacker.jpg"/>
          <p:cNvPicPr/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33137" y="2739321"/>
            <a:ext cx="5892249" cy="3658286"/>
          </a:xfrm>
          <a:prstGeom prst="rect">
            <a:avLst/>
          </a:prstGeom>
          <a:noFill/>
          <a:ln w="3175">
            <a:solidFill>
              <a:schemeClr val="tx1"/>
            </a:solidFill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056403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4381">
        <p:fade/>
      </p:transition>
    </mc:Choice>
    <mc:Fallback xmlns="">
      <p:transition spd="med" advTm="4381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8" descr="STSH_PP_Keilelement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550" y="4926414"/>
            <a:ext cx="11791949" cy="15997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076" name="Text Box 6"/>
          <p:cNvSpPr txBox="1">
            <a:spLocks noChangeArrowheads="1"/>
          </p:cNvSpPr>
          <p:nvPr/>
        </p:nvSpPr>
        <p:spPr bwMode="auto">
          <a:xfrm>
            <a:off x="693862" y="1022944"/>
            <a:ext cx="9286384" cy="7325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lnSpc>
                <a:spcPct val="60000"/>
              </a:lnSpc>
              <a:spcBef>
                <a:spcPct val="50000"/>
              </a:spcBef>
            </a:pPr>
            <a:r>
              <a:rPr lang="de-DE" sz="2800" b="1" dirty="0" smtClean="0">
                <a:latin typeface="FuturaMedium" panose="020B0500000000000000" pitchFamily="34" charset="0"/>
              </a:rPr>
              <a:t>Mehr </a:t>
            </a:r>
            <a:r>
              <a:rPr lang="de-DE" sz="2800" b="1" dirty="0" err="1" smtClean="0">
                <a:latin typeface="FuturaMedium" panose="020B0500000000000000" pitchFamily="34" charset="0"/>
              </a:rPr>
              <a:t>öV</a:t>
            </a:r>
            <a:r>
              <a:rPr lang="de-DE" sz="2800" b="1" dirty="0" smtClean="0">
                <a:latin typeface="FuturaMedium" panose="020B0500000000000000" pitchFamily="34" charset="0"/>
              </a:rPr>
              <a:t> für Herblingen</a:t>
            </a:r>
            <a:endParaRPr lang="de-DE" sz="2800" b="1" dirty="0">
              <a:latin typeface="FuturaMedium" panose="020B0500000000000000" pitchFamily="34" charset="0"/>
            </a:endParaRPr>
          </a:p>
          <a:p>
            <a:pPr>
              <a:lnSpc>
                <a:spcPct val="60000"/>
              </a:lnSpc>
              <a:spcBef>
                <a:spcPct val="50000"/>
              </a:spcBef>
            </a:pPr>
            <a:r>
              <a:rPr lang="de-DE" sz="2800" dirty="0" smtClean="0">
                <a:latin typeface="FuturaMedium" panose="020B0500000000000000" pitchFamily="34" charset="0"/>
              </a:rPr>
              <a:t>städtische Volksabstimmung vom 24. September 2017</a:t>
            </a:r>
            <a:endParaRPr lang="de-DE" sz="2800" dirty="0">
              <a:latin typeface="FuturaMedium" panose="020B0500000000000000" pitchFamily="34" charset="0"/>
            </a:endParaRPr>
          </a:p>
        </p:txBody>
      </p:sp>
      <p:sp>
        <p:nvSpPr>
          <p:cNvPr id="3077" name="Text Box 22"/>
          <p:cNvSpPr txBox="1">
            <a:spLocks noChangeArrowheads="1"/>
          </p:cNvSpPr>
          <p:nvPr/>
        </p:nvSpPr>
        <p:spPr bwMode="auto">
          <a:xfrm>
            <a:off x="2897187" y="6092829"/>
            <a:ext cx="18466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de-CH"/>
          </a:p>
        </p:txBody>
      </p:sp>
      <p:sp>
        <p:nvSpPr>
          <p:cNvPr id="2" name="Rechteck 1"/>
          <p:cNvSpPr/>
          <p:nvPr/>
        </p:nvSpPr>
        <p:spPr>
          <a:xfrm rot="18835564">
            <a:off x="6854453" y="2205838"/>
            <a:ext cx="2307340" cy="47705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endParaRPr lang="de-DE" sz="2500" dirty="0">
              <a:ln w="0"/>
              <a:solidFill>
                <a:srgbClr val="C0000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69"/>
          <a:stretch/>
        </p:blipFill>
        <p:spPr>
          <a:xfrm>
            <a:off x="413773" y="2094523"/>
            <a:ext cx="11379642" cy="4400061"/>
          </a:xfrm>
          <a:prstGeom prst="rect">
            <a:avLst/>
          </a:prstGeom>
        </p:spPr>
      </p:pic>
      <p:pic>
        <p:nvPicPr>
          <p:cNvPr id="9" name="Picture 18" descr="STSH_PP_Keilelement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550" y="5168828"/>
            <a:ext cx="11791949" cy="145097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Grafik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7250" y="5863016"/>
            <a:ext cx="3265950" cy="590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0986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573">
        <p:fade/>
      </p:transition>
    </mc:Choice>
    <mc:Fallback xmlns="">
      <p:transition spd="med" advTm="357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438150" y="936763"/>
            <a:ext cx="11373635" cy="810051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rmAutofit fontScale="97500"/>
          </a:bodyPr>
          <a:lstStyle/>
          <a:p>
            <a:pPr>
              <a:defRPr/>
            </a:pPr>
            <a:r>
              <a:rPr lang="de-CH" sz="2700" b="1" kern="0" dirty="0" smtClean="0">
                <a:latin typeface="FuturaMedium" panose="020B0500000000000000" pitchFamily="34" charset="0"/>
                <a:ea typeface="Arial" charset="0"/>
                <a:cs typeface="Arial" panose="020B0604020202020204" pitchFamily="34" charset="0"/>
              </a:rPr>
              <a:t>Ausgangslage 1/4: «Herblingen wächst – der Bedarf ist klar ausgewiesen!»</a:t>
            </a:r>
            <a:endParaRPr lang="de-CH" sz="2700" b="1" kern="0" dirty="0">
              <a:latin typeface="FuturaMedium" panose="020B0500000000000000" pitchFamily="34" charset="0"/>
              <a:ea typeface="Arial" charset="0"/>
              <a:cs typeface="Arial" panose="020B0604020202020204" pitchFamily="34" charset="0"/>
            </a:endParaRPr>
          </a:p>
        </p:txBody>
      </p:sp>
      <p:grpSp>
        <p:nvGrpSpPr>
          <p:cNvPr id="3" name="Gruppieren 2"/>
          <p:cNvGrpSpPr/>
          <p:nvPr/>
        </p:nvGrpSpPr>
        <p:grpSpPr>
          <a:xfrm>
            <a:off x="438150" y="1633809"/>
            <a:ext cx="4905795" cy="3444758"/>
            <a:chOff x="438151" y="1633809"/>
            <a:chExt cx="4204042" cy="2952000"/>
          </a:xfrm>
        </p:grpSpPr>
        <p:pic>
          <p:nvPicPr>
            <p:cNvPr id="8" name="Grafik 7"/>
            <p:cNvPicPr preferRelativeResize="0"/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8151" y="1633809"/>
              <a:ext cx="4204042" cy="295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0" name="Rectangle 2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>
            <a:xfrm>
              <a:off x="1835078" y="4096264"/>
              <a:ext cx="1410188" cy="489545"/>
            </a:xfrm>
            <a:prstGeom prst="rect">
              <a:avLst/>
            </a:prstGeom>
            <a:noFill/>
          </p:spPr>
          <p:txBody>
            <a:bodyPr vert="horz" lIns="0" tIns="0" rIns="0" bIns="0" rtlCol="0" anchor="t" anchorCtr="0">
              <a:normAutofit fontScale="97500"/>
            </a:bodyPr>
            <a:lstStyle/>
            <a:p>
              <a:pPr algn="ctr">
                <a:defRPr/>
              </a:pPr>
              <a:r>
                <a:rPr lang="de-CH" sz="2700" b="1" kern="0" dirty="0" smtClean="0">
                  <a:effectLst>
                    <a:glow rad="279400">
                      <a:schemeClr val="bg1"/>
                    </a:glow>
                  </a:effectLst>
                  <a:latin typeface="FuturaMedium" panose="020B0500000000000000" pitchFamily="34" charset="0"/>
                  <a:ea typeface="Arial" charset="0"/>
                  <a:cs typeface="Arial" panose="020B0604020202020204" pitchFamily="34" charset="0"/>
                </a:rPr>
                <a:t>1980</a:t>
              </a:r>
              <a:endParaRPr lang="de-CH" sz="2700" b="1" kern="0" dirty="0">
                <a:effectLst>
                  <a:glow rad="279400">
                    <a:schemeClr val="bg1"/>
                  </a:glow>
                </a:effectLst>
                <a:latin typeface="FuturaMedium" panose="020B0500000000000000" pitchFamily="34" charset="0"/>
                <a:ea typeface="Arial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3" name="Gruppieren 12"/>
          <p:cNvGrpSpPr/>
          <p:nvPr/>
        </p:nvGrpSpPr>
        <p:grpSpPr>
          <a:xfrm>
            <a:off x="5604928" y="1634680"/>
            <a:ext cx="4924811" cy="3443741"/>
            <a:chOff x="4888492" y="1634680"/>
            <a:chExt cx="4220338" cy="2951129"/>
          </a:xfrm>
        </p:grpSpPr>
        <p:pic>
          <p:nvPicPr>
            <p:cNvPr id="9" name="Grafik 8"/>
            <p:cNvPicPr preferRelativeResize="0"/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88492" y="1634680"/>
              <a:ext cx="4220338" cy="2951129"/>
            </a:xfrm>
            <a:prstGeom prst="rect">
              <a:avLst/>
            </a:prstGeom>
          </p:spPr>
        </p:pic>
        <p:sp>
          <p:nvSpPr>
            <p:cNvPr id="11" name="Rectangle 2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>
            <a:xfrm>
              <a:off x="6293567" y="4096264"/>
              <a:ext cx="1410188" cy="489545"/>
            </a:xfrm>
            <a:prstGeom prst="rect">
              <a:avLst/>
            </a:prstGeom>
            <a:noFill/>
          </p:spPr>
          <p:txBody>
            <a:bodyPr vert="horz" lIns="0" tIns="0" rIns="0" bIns="0" rtlCol="0" anchor="t" anchorCtr="0">
              <a:normAutofit fontScale="97500"/>
            </a:bodyPr>
            <a:lstStyle/>
            <a:p>
              <a:pPr algn="ctr">
                <a:defRPr/>
              </a:pPr>
              <a:r>
                <a:rPr lang="de-CH" sz="2700" b="1" kern="0" dirty="0" smtClean="0">
                  <a:effectLst>
                    <a:glow rad="279400">
                      <a:schemeClr val="bg1"/>
                    </a:glow>
                  </a:effectLst>
                  <a:latin typeface="FuturaMedium" panose="020B0500000000000000" pitchFamily="34" charset="0"/>
                  <a:ea typeface="Arial" charset="0"/>
                  <a:cs typeface="Arial" panose="020B0604020202020204" pitchFamily="34" charset="0"/>
                </a:rPr>
                <a:t>2015</a:t>
              </a:r>
              <a:endParaRPr lang="de-CH" sz="2700" b="1" kern="0" dirty="0">
                <a:effectLst>
                  <a:glow rad="279400">
                    <a:schemeClr val="bg1"/>
                  </a:glow>
                </a:effectLst>
                <a:latin typeface="FuturaMedium" panose="020B0500000000000000" pitchFamily="34" charset="0"/>
                <a:ea typeface="Arial" charset="0"/>
                <a:cs typeface="Arial" panose="020B0604020202020204" pitchFamily="34" charset="0"/>
              </a:endParaRPr>
            </a:p>
          </p:txBody>
        </p:sp>
      </p:grpSp>
      <p:sp>
        <p:nvSpPr>
          <p:cNvPr id="12" name="Inhaltsplatzhalter 3"/>
          <p:cNvSpPr txBox="1">
            <a:spLocks/>
          </p:cNvSpPr>
          <p:nvPr/>
        </p:nvSpPr>
        <p:spPr>
          <a:xfrm>
            <a:off x="438150" y="5307291"/>
            <a:ext cx="11213379" cy="8201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1200"/>
              </a:spcAft>
              <a:buFont typeface="Symbol" panose="05050102010706020507" pitchFamily="18" charset="2"/>
              <a:buChar char="-"/>
            </a:pPr>
            <a:r>
              <a:rPr lang="de-CH" sz="2000" dirty="0" smtClean="0">
                <a:latin typeface="FuturaMedium" panose="020B0500000000000000" pitchFamily="34" charset="0"/>
              </a:rPr>
              <a:t>Herblingen entwickelte sich in den letzten 35 Jahren stark.</a:t>
            </a:r>
          </a:p>
        </p:txBody>
      </p:sp>
    </p:spTree>
    <p:extLst>
      <p:ext uri="{BB962C8B-B14F-4D97-AF65-F5344CB8AC3E}">
        <p14:creationId xmlns:p14="http://schemas.microsoft.com/office/powerpoint/2010/main" val="473541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985">
        <p:fade/>
      </p:transition>
    </mc:Choice>
    <mc:Fallback xmlns="">
      <p:transition spd="med" advTm="3985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438151" y="936763"/>
            <a:ext cx="11439622" cy="810051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rmAutofit fontScale="97500"/>
          </a:bodyPr>
          <a:lstStyle/>
          <a:p>
            <a:pPr>
              <a:defRPr/>
            </a:pPr>
            <a:r>
              <a:rPr lang="de-CH" sz="2700" b="1" kern="0" dirty="0" smtClean="0">
                <a:latin typeface="FuturaMedium" panose="020B0500000000000000" pitchFamily="34" charset="0"/>
                <a:ea typeface="Arial" charset="0"/>
                <a:cs typeface="Arial" panose="020B0604020202020204" pitchFamily="34" charset="0"/>
              </a:rPr>
              <a:t>Ausgangslage 2/4: «Das Wohnquartier </a:t>
            </a:r>
            <a:r>
              <a:rPr lang="de-CH" sz="2700" b="1" kern="0" dirty="0" err="1" smtClean="0">
                <a:latin typeface="FuturaMedium" panose="020B0500000000000000" pitchFamily="34" charset="0"/>
                <a:ea typeface="Arial" charset="0"/>
                <a:cs typeface="Arial" panose="020B0604020202020204" pitchFamily="34" charset="0"/>
              </a:rPr>
              <a:t>Trenschen</a:t>
            </a:r>
            <a:r>
              <a:rPr lang="de-CH" sz="2700" b="1" kern="0" dirty="0" smtClean="0">
                <a:latin typeface="FuturaMedium" panose="020B0500000000000000" pitchFamily="34" charset="0"/>
                <a:ea typeface="Arial" charset="0"/>
                <a:cs typeface="Arial" panose="020B0604020202020204" pitchFamily="34" charset="0"/>
              </a:rPr>
              <a:t> ist ungenügend erschlossen.»</a:t>
            </a:r>
            <a:endParaRPr lang="de-CH" sz="2700" b="1" kern="0" dirty="0">
              <a:latin typeface="FuturaMedium" panose="020B0500000000000000" pitchFamily="34" charset="0"/>
              <a:ea typeface="Arial" charset="0"/>
              <a:cs typeface="Arial" panose="020B0604020202020204" pitchFamily="34" charset="0"/>
            </a:endParaRPr>
          </a:p>
        </p:txBody>
      </p:sp>
      <p:sp>
        <p:nvSpPr>
          <p:cNvPr id="12" name="Inhaltsplatzhalter 3"/>
          <p:cNvSpPr txBox="1">
            <a:spLocks/>
          </p:cNvSpPr>
          <p:nvPr/>
        </p:nvSpPr>
        <p:spPr>
          <a:xfrm>
            <a:off x="4915882" y="1847844"/>
            <a:ext cx="5830675" cy="12734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1200"/>
              </a:spcAft>
              <a:buFont typeface="Symbol" panose="05050102010706020507" pitchFamily="18" charset="2"/>
              <a:buChar char="-"/>
            </a:pPr>
            <a:r>
              <a:rPr lang="de-CH" sz="2000" dirty="0" smtClean="0">
                <a:latin typeface="FuturaMedium" panose="020B0500000000000000" pitchFamily="34" charset="0"/>
              </a:rPr>
              <a:t>Die </a:t>
            </a:r>
            <a:r>
              <a:rPr lang="de-CH" sz="2000" dirty="0" err="1" smtClean="0">
                <a:latin typeface="FuturaMedium" panose="020B0500000000000000" pitchFamily="34" charset="0"/>
              </a:rPr>
              <a:t>öV</a:t>
            </a:r>
            <a:r>
              <a:rPr lang="de-CH" sz="2000" dirty="0" smtClean="0">
                <a:latin typeface="FuturaMedium" panose="020B0500000000000000" pitchFamily="34" charset="0"/>
              </a:rPr>
              <a:t>-Erschliessungsqualität ergibt für das Wachstumsquartier </a:t>
            </a:r>
            <a:r>
              <a:rPr lang="de-CH" sz="2000" dirty="0" err="1" smtClean="0">
                <a:latin typeface="FuturaMedium" panose="020B0500000000000000" pitchFamily="34" charset="0"/>
              </a:rPr>
              <a:t>Trenschen</a:t>
            </a:r>
            <a:r>
              <a:rPr lang="de-CH" sz="2000" dirty="0" smtClean="0">
                <a:latin typeface="FuturaMedium" panose="020B0500000000000000" pitchFamily="34" charset="0"/>
              </a:rPr>
              <a:t>/Schlossweiher die Güteklasse D (= geringe Erschliessung).</a:t>
            </a:r>
          </a:p>
          <a:p>
            <a:pPr marL="457200" lvl="1" indent="0" fontAlgn="auto">
              <a:spcBef>
                <a:spcPts val="0"/>
              </a:spcBef>
              <a:spcAft>
                <a:spcPts val="1200"/>
              </a:spcAft>
              <a:buNone/>
            </a:pPr>
            <a:endParaRPr lang="de-CH" sz="1600" dirty="0" smtClean="0">
              <a:latin typeface="FuturaMedium" panose="020B0500000000000000" pitchFamily="34" charset="0"/>
            </a:endParaRP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151" y="1847844"/>
            <a:ext cx="4178752" cy="4235995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5882" y="5456548"/>
            <a:ext cx="1171313" cy="627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4437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4993">
        <p:fade/>
      </p:transition>
    </mc:Choice>
    <mc:Fallback xmlns="">
      <p:transition spd="med" advTm="4993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438151" y="936763"/>
            <a:ext cx="11298220" cy="810051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rmAutofit fontScale="97500"/>
          </a:bodyPr>
          <a:lstStyle/>
          <a:p>
            <a:pPr>
              <a:defRPr/>
            </a:pPr>
            <a:r>
              <a:rPr lang="de-CH" sz="2700" b="1" kern="0" dirty="0" smtClean="0">
                <a:latin typeface="FuturaMedium" panose="020B0500000000000000" pitchFamily="34" charset="0"/>
                <a:ea typeface="Arial" charset="0"/>
                <a:cs typeface="Arial" panose="020B0604020202020204" pitchFamily="34" charset="0"/>
              </a:rPr>
              <a:t>Ausgangslage 3/4: «Zahlreiche Ansiedelungen im </a:t>
            </a:r>
            <a:r>
              <a:rPr lang="de-CH" sz="2700" b="1" kern="0" dirty="0" err="1" smtClean="0">
                <a:latin typeface="FuturaMedium" panose="020B0500000000000000" pitchFamily="34" charset="0"/>
                <a:ea typeface="Arial" charset="0"/>
                <a:cs typeface="Arial" panose="020B0604020202020204" pitchFamily="34" charset="0"/>
              </a:rPr>
              <a:t>Herblingertal</a:t>
            </a:r>
            <a:r>
              <a:rPr lang="de-CH" sz="2700" b="1" kern="0" dirty="0" smtClean="0">
                <a:latin typeface="FuturaMedium" panose="020B0500000000000000" pitchFamily="34" charset="0"/>
                <a:ea typeface="Arial" charset="0"/>
                <a:cs typeface="Arial" panose="020B0604020202020204" pitchFamily="34" charset="0"/>
              </a:rPr>
              <a:t>»</a:t>
            </a:r>
            <a:endParaRPr lang="de-CH" sz="2700" b="1" kern="0" dirty="0">
              <a:latin typeface="FuturaMedium" panose="020B0500000000000000" pitchFamily="34" charset="0"/>
              <a:ea typeface="Arial" charset="0"/>
              <a:cs typeface="Arial" panose="020B0604020202020204" pitchFamily="34" charset="0"/>
            </a:endParaRP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440" y="4856752"/>
            <a:ext cx="2838522" cy="1804258"/>
          </a:xfrm>
          <a:prstGeom prst="rect">
            <a:avLst/>
          </a:prstGeom>
        </p:spPr>
      </p:pic>
      <p:pic>
        <p:nvPicPr>
          <p:cNvPr id="8" name="Bild 2" descr="obi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6954" y="1395476"/>
            <a:ext cx="6029594" cy="1130622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Bild 3" descr="Lipo_park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5971" y="2526098"/>
            <a:ext cx="3060919" cy="1646113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Bild 4" descr="solenberg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355" y="1538731"/>
            <a:ext cx="2704406" cy="1366591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Bild 5" descr="herblinger markt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355" y="3088328"/>
            <a:ext cx="2838522" cy="1567733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Bild 7" descr="Lidl"/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6249" y="4560589"/>
            <a:ext cx="2587078" cy="1231464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Grafik 15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5971" y="4393133"/>
            <a:ext cx="3060919" cy="1877963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6250" y="2797804"/>
            <a:ext cx="2788990" cy="1343508"/>
          </a:xfrm>
          <a:prstGeom prst="rect">
            <a:avLst/>
          </a:prstGeom>
        </p:spPr>
      </p:pic>
      <p:sp>
        <p:nvSpPr>
          <p:cNvPr id="12" name="Inhaltsplatzhalter 3"/>
          <p:cNvSpPr txBox="1">
            <a:spLocks/>
          </p:cNvSpPr>
          <p:nvPr/>
        </p:nvSpPr>
        <p:spPr>
          <a:xfrm>
            <a:off x="9817477" y="1557586"/>
            <a:ext cx="1890613" cy="433416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1200"/>
              </a:spcAft>
              <a:buFont typeface="Symbol" panose="05050102010706020507" pitchFamily="18" charset="2"/>
              <a:buChar char="-"/>
            </a:pPr>
            <a:r>
              <a:rPr lang="de-CH" sz="2000" dirty="0" smtClean="0">
                <a:latin typeface="FuturaMedium" panose="020B0500000000000000" pitchFamily="34" charset="0"/>
              </a:rPr>
              <a:t>zahlreiche neue Arbeitsplätze und Einkaufs-möglichkeiten</a:t>
            </a:r>
          </a:p>
          <a:p>
            <a:pPr fontAlgn="auto">
              <a:spcBef>
                <a:spcPts val="0"/>
              </a:spcBef>
              <a:spcAft>
                <a:spcPts val="1200"/>
              </a:spcAft>
              <a:buFont typeface="Symbol" panose="05050102010706020507" pitchFamily="18" charset="2"/>
              <a:buChar char="-"/>
            </a:pPr>
            <a:r>
              <a:rPr lang="de-CH" sz="2000" dirty="0" smtClean="0">
                <a:latin typeface="FuturaMedium" panose="020B0500000000000000" pitchFamily="34" charset="0"/>
              </a:rPr>
              <a:t>Alleine die UBS bringt 500 Mitarbeiter ins </a:t>
            </a:r>
            <a:r>
              <a:rPr lang="de-CH" sz="2000" dirty="0" err="1" smtClean="0">
                <a:latin typeface="FuturaMedium" panose="020B0500000000000000" pitchFamily="34" charset="0"/>
              </a:rPr>
              <a:t>Herblingertal</a:t>
            </a:r>
            <a:r>
              <a:rPr lang="de-CH" sz="2000" dirty="0" smtClean="0">
                <a:latin typeface="FuturaMedium" panose="020B0500000000000000" pitchFamily="34" charset="0"/>
              </a:rPr>
              <a:t>.</a:t>
            </a:r>
          </a:p>
          <a:p>
            <a:pPr marL="457200" lvl="1" indent="0" fontAlgn="auto">
              <a:spcBef>
                <a:spcPts val="0"/>
              </a:spcBef>
              <a:spcAft>
                <a:spcPts val="1200"/>
              </a:spcAft>
              <a:buNone/>
            </a:pPr>
            <a:endParaRPr lang="de-CH" sz="1600" dirty="0" smtClean="0">
              <a:latin typeface="FuturaMedium" panose="020B0500000000000000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4513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8154">
        <p:fade/>
      </p:transition>
    </mc:Choice>
    <mc:Fallback xmlns="">
      <p:transition spd="med" advTm="8154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438151" y="936763"/>
            <a:ext cx="11298220" cy="810051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rmAutofit fontScale="97500"/>
          </a:bodyPr>
          <a:lstStyle/>
          <a:p>
            <a:pPr>
              <a:defRPr/>
            </a:pPr>
            <a:r>
              <a:rPr lang="de-CH" sz="2700" b="1" kern="0" dirty="0" smtClean="0">
                <a:latin typeface="FuturaMedium" panose="020B0500000000000000" pitchFamily="34" charset="0"/>
                <a:ea typeface="Arial" charset="0"/>
                <a:cs typeface="Arial" panose="020B0604020202020204" pitchFamily="34" charset="0"/>
              </a:rPr>
              <a:t>Ausgangslage 4/4: «Die Anbindung der S-Bahnhaltestelle fehlt noch.»</a:t>
            </a:r>
            <a:endParaRPr lang="de-CH" sz="2700" b="1" kern="0" dirty="0">
              <a:latin typeface="FuturaMedium" panose="020B0500000000000000" pitchFamily="34" charset="0"/>
              <a:ea typeface="Arial" charset="0"/>
              <a:cs typeface="Arial" panose="020B0604020202020204" pitchFamily="34" charset="0"/>
            </a:endParaRPr>
          </a:p>
        </p:txBody>
      </p:sp>
      <p:sp>
        <p:nvSpPr>
          <p:cNvPr id="12" name="Inhaltsplatzhalter 3"/>
          <p:cNvSpPr txBox="1">
            <a:spLocks/>
          </p:cNvSpPr>
          <p:nvPr/>
        </p:nvSpPr>
        <p:spPr>
          <a:xfrm>
            <a:off x="6159877" y="1718942"/>
            <a:ext cx="5472799" cy="433416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1200"/>
              </a:spcAft>
              <a:buFont typeface="Symbol" panose="05050102010706020507" pitchFamily="18" charset="2"/>
              <a:buChar char="-"/>
            </a:pPr>
            <a:r>
              <a:rPr lang="de-CH" sz="2000" dirty="0" smtClean="0">
                <a:latin typeface="FuturaMedium" panose="020B0500000000000000" pitchFamily="34" charset="0"/>
              </a:rPr>
              <a:t>Der Bahnhof Herblingen wurde 2015 zu einer vollwertigen S-Bahn-Haltestelle ausgebaut.</a:t>
            </a:r>
          </a:p>
          <a:p>
            <a:pPr fontAlgn="auto">
              <a:spcBef>
                <a:spcPts val="0"/>
              </a:spcBef>
              <a:spcAft>
                <a:spcPts val="1200"/>
              </a:spcAft>
              <a:buFont typeface="Symbol" panose="05050102010706020507" pitchFamily="18" charset="2"/>
              <a:buChar char="-"/>
            </a:pPr>
            <a:r>
              <a:rPr lang="de-CH" sz="2000" dirty="0" smtClean="0">
                <a:latin typeface="FuturaMedium" panose="020B0500000000000000" pitchFamily="34" charset="0"/>
              </a:rPr>
              <a:t>Eine Anbindung ans VBSH-Netz fehlt bisher.</a:t>
            </a:r>
          </a:p>
          <a:p>
            <a:pPr marL="457200" lvl="1" indent="0" fontAlgn="auto">
              <a:spcBef>
                <a:spcPts val="0"/>
              </a:spcBef>
              <a:spcAft>
                <a:spcPts val="1200"/>
              </a:spcAft>
              <a:buNone/>
            </a:pPr>
            <a:endParaRPr lang="de-CH" sz="1600" dirty="0" smtClean="0">
              <a:latin typeface="FuturaMedium" panose="020B0500000000000000" pitchFamily="34" charset="0"/>
            </a:endParaRPr>
          </a:p>
        </p:txBody>
      </p:sp>
      <p:pic>
        <p:nvPicPr>
          <p:cNvPr id="13" name="Grafik 12" descr="Bildergebnis für bahnhof herblingen bilder">
            <a:hlinkClick r:id="rId4"/>
          </p:cNvPr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634" y="1718942"/>
            <a:ext cx="5546690" cy="411982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9574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6601">
        <p:fade/>
      </p:transition>
    </mc:Choice>
    <mc:Fallback xmlns="">
      <p:transition spd="med" advTm="6601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2602" y="1581180"/>
            <a:ext cx="5422369" cy="460969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" name="Rectangle 2"/>
          <p:cNvSpPr txBox="1">
            <a:spLocks noChangeArrowheads="1"/>
          </p:cNvSpPr>
          <p:nvPr>
            <p:custDataLst>
              <p:tags r:id="rId2"/>
            </p:custDataLst>
          </p:nvPr>
        </p:nvSpPr>
        <p:spPr>
          <a:xfrm>
            <a:off x="438151" y="936763"/>
            <a:ext cx="11298220" cy="810051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rmAutofit fontScale="97500"/>
          </a:bodyPr>
          <a:lstStyle/>
          <a:p>
            <a:pPr>
              <a:defRPr/>
            </a:pPr>
            <a:r>
              <a:rPr lang="de-CH" sz="2700" b="1" kern="0" dirty="0" smtClean="0">
                <a:latin typeface="FuturaMedium" panose="020B0500000000000000" pitchFamily="34" charset="0"/>
                <a:ea typeface="Arial" charset="0"/>
                <a:cs typeface="Arial" panose="020B0604020202020204" pitchFamily="34" charset="0"/>
              </a:rPr>
              <a:t>Neues Linienkonzept</a:t>
            </a:r>
            <a:endParaRPr lang="de-CH" sz="2700" b="1" kern="0" dirty="0">
              <a:latin typeface="FuturaMedium" panose="020B0500000000000000" pitchFamily="34" charset="0"/>
              <a:ea typeface="Arial" charset="0"/>
              <a:cs typeface="Arial" panose="020B0604020202020204" pitchFamily="34" charset="0"/>
            </a:endParaRPr>
          </a:p>
        </p:txBody>
      </p:sp>
      <p:sp>
        <p:nvSpPr>
          <p:cNvPr id="2" name="Rechteckige Legende 1"/>
          <p:cNvSpPr/>
          <p:nvPr/>
        </p:nvSpPr>
        <p:spPr>
          <a:xfrm>
            <a:off x="8465270" y="1581180"/>
            <a:ext cx="3271101" cy="1836000"/>
          </a:xfrm>
          <a:prstGeom prst="wedgeRectCallout">
            <a:avLst>
              <a:gd name="adj1" fmla="val -97415"/>
              <a:gd name="adj2" fmla="val -11105"/>
            </a:avLst>
          </a:prstGeom>
          <a:solidFill>
            <a:srgbClr val="FFFFFF">
              <a:alpha val="61176"/>
            </a:srgb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2000" b="1" dirty="0" smtClean="0">
                <a:solidFill>
                  <a:schemeClr val="tx1"/>
                </a:solidFill>
                <a:latin typeface="FuturaMedium" panose="020B0500000000000000" pitchFamily="34" charset="0"/>
              </a:rPr>
              <a:t>Verlängerung der Linie 5</a:t>
            </a:r>
            <a:br>
              <a:rPr lang="de-CH" sz="2000" b="1" dirty="0" smtClean="0">
                <a:solidFill>
                  <a:schemeClr val="tx1"/>
                </a:solidFill>
                <a:latin typeface="FuturaMedium" panose="020B0500000000000000" pitchFamily="34" charset="0"/>
              </a:rPr>
            </a:br>
            <a:r>
              <a:rPr lang="de-CH" sz="2000" dirty="0" smtClean="0">
                <a:solidFill>
                  <a:schemeClr val="tx1"/>
                </a:solidFill>
                <a:latin typeface="FuturaMedium" panose="020B0500000000000000" pitchFamily="34" charset="0"/>
              </a:rPr>
              <a:t>bis </a:t>
            </a:r>
            <a:r>
              <a:rPr lang="de-CH" sz="2000" dirty="0" err="1" smtClean="0">
                <a:solidFill>
                  <a:schemeClr val="tx1"/>
                </a:solidFill>
                <a:latin typeface="FuturaMedium" panose="020B0500000000000000" pitchFamily="34" charset="0"/>
              </a:rPr>
              <a:t>Gründliacker</a:t>
            </a:r>
            <a:endParaRPr lang="de-CH" sz="2000" dirty="0" smtClean="0">
              <a:solidFill>
                <a:schemeClr val="tx1"/>
              </a:solidFill>
              <a:latin typeface="FuturaMedium" panose="020B0500000000000000" pitchFamily="34" charset="0"/>
            </a:endParaRPr>
          </a:p>
        </p:txBody>
      </p:sp>
      <p:sp>
        <p:nvSpPr>
          <p:cNvPr id="7" name="Rechteckige Legende 6"/>
          <p:cNvSpPr/>
          <p:nvPr/>
        </p:nvSpPr>
        <p:spPr>
          <a:xfrm>
            <a:off x="8465272" y="3573173"/>
            <a:ext cx="3271099" cy="1836000"/>
          </a:xfrm>
          <a:prstGeom prst="wedgeRectCallout">
            <a:avLst>
              <a:gd name="adj1" fmla="val -91284"/>
              <a:gd name="adj2" fmla="val -37679"/>
            </a:avLst>
          </a:prstGeom>
          <a:solidFill>
            <a:srgbClr val="FFFFFF">
              <a:alpha val="61176"/>
            </a:srgb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2000" b="1" dirty="0" smtClean="0">
                <a:solidFill>
                  <a:schemeClr val="tx1"/>
                </a:solidFill>
                <a:latin typeface="FuturaMedium" panose="020B0500000000000000" pitchFamily="34" charset="0"/>
              </a:rPr>
              <a:t>Neue Linie 9:</a:t>
            </a:r>
          </a:p>
          <a:p>
            <a:pPr algn="ctr"/>
            <a:r>
              <a:rPr lang="de-CH" sz="2000" dirty="0" smtClean="0">
                <a:solidFill>
                  <a:schemeClr val="tx1"/>
                </a:solidFill>
                <a:latin typeface="FuturaMedium" panose="020B0500000000000000" pitchFamily="34" charset="0"/>
              </a:rPr>
              <a:t>Ebnat – </a:t>
            </a:r>
            <a:r>
              <a:rPr lang="de-CH" sz="2000" dirty="0" err="1" smtClean="0">
                <a:solidFill>
                  <a:schemeClr val="tx1"/>
                </a:solidFill>
                <a:latin typeface="FuturaMedium" panose="020B0500000000000000" pitchFamily="34" charset="0"/>
              </a:rPr>
              <a:t>Kinepolis</a:t>
            </a:r>
            <a:r>
              <a:rPr lang="de-CH" sz="2000" dirty="0" smtClean="0">
                <a:solidFill>
                  <a:schemeClr val="tx1"/>
                </a:solidFill>
                <a:latin typeface="FuturaMedium" panose="020B0500000000000000" pitchFamily="34" charset="0"/>
              </a:rPr>
              <a:t> – </a:t>
            </a:r>
            <a:r>
              <a:rPr lang="de-CH" sz="2000" dirty="0" err="1" smtClean="0">
                <a:solidFill>
                  <a:schemeClr val="tx1"/>
                </a:solidFill>
                <a:latin typeface="FuturaMedium" panose="020B0500000000000000" pitchFamily="34" charset="0"/>
              </a:rPr>
              <a:t>Herblingertal</a:t>
            </a:r>
            <a:r>
              <a:rPr lang="de-CH" sz="2000" dirty="0" smtClean="0">
                <a:solidFill>
                  <a:schemeClr val="tx1"/>
                </a:solidFill>
                <a:latin typeface="FuturaMedium" panose="020B0500000000000000" pitchFamily="34" charset="0"/>
              </a:rPr>
              <a:t> – Stadion/Bahnhof – Einkaufszentren </a:t>
            </a:r>
          </a:p>
        </p:txBody>
      </p:sp>
      <p:sp>
        <p:nvSpPr>
          <p:cNvPr id="8" name="Rechteckige Legende 7"/>
          <p:cNvSpPr/>
          <p:nvPr/>
        </p:nvSpPr>
        <p:spPr>
          <a:xfrm>
            <a:off x="438151" y="3274828"/>
            <a:ext cx="2125940" cy="2916043"/>
          </a:xfrm>
          <a:prstGeom prst="wedgeRectCallout">
            <a:avLst>
              <a:gd name="adj1" fmla="val 127149"/>
              <a:gd name="adj2" fmla="val -28599"/>
            </a:avLst>
          </a:prstGeom>
          <a:solidFill>
            <a:srgbClr val="FFFFFF">
              <a:alpha val="61176"/>
            </a:srgb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2000" b="1" dirty="0" smtClean="0">
                <a:solidFill>
                  <a:schemeClr val="tx1"/>
                </a:solidFill>
                <a:latin typeface="FuturaMedium" panose="020B0500000000000000" pitchFamily="34" charset="0"/>
              </a:rPr>
              <a:t>Verkürzung</a:t>
            </a:r>
            <a:br>
              <a:rPr lang="de-CH" sz="2000" b="1" dirty="0" smtClean="0">
                <a:solidFill>
                  <a:schemeClr val="tx1"/>
                </a:solidFill>
                <a:latin typeface="FuturaMedium" panose="020B0500000000000000" pitchFamily="34" charset="0"/>
              </a:rPr>
            </a:br>
            <a:r>
              <a:rPr lang="de-CH" sz="2000" b="1" dirty="0" smtClean="0">
                <a:solidFill>
                  <a:schemeClr val="tx1"/>
                </a:solidFill>
                <a:latin typeface="FuturaMedium" panose="020B0500000000000000" pitchFamily="34" charset="0"/>
              </a:rPr>
              <a:t>Linie 6</a:t>
            </a:r>
          </a:p>
          <a:p>
            <a:pPr algn="ctr"/>
            <a:r>
              <a:rPr lang="de-CH" sz="2000" dirty="0" smtClean="0">
                <a:solidFill>
                  <a:schemeClr val="tx1"/>
                </a:solidFill>
                <a:latin typeface="FuturaMedium" panose="020B0500000000000000" pitchFamily="34" charset="0"/>
              </a:rPr>
              <a:t>bis Falkeneck, Vorbereitung</a:t>
            </a:r>
            <a:br>
              <a:rPr lang="de-CH" sz="2000" dirty="0" smtClean="0">
                <a:solidFill>
                  <a:schemeClr val="tx1"/>
                </a:solidFill>
                <a:latin typeface="FuturaMedium" panose="020B0500000000000000" pitchFamily="34" charset="0"/>
              </a:rPr>
            </a:br>
            <a:r>
              <a:rPr lang="de-CH" sz="2000" dirty="0" smtClean="0">
                <a:solidFill>
                  <a:schemeClr val="tx1"/>
                </a:solidFill>
                <a:latin typeface="FuturaMedium" panose="020B0500000000000000" pitchFamily="34" charset="0"/>
              </a:rPr>
              <a:t>für spätere Anbindung Pantli im Y-Betrieb</a:t>
            </a:r>
          </a:p>
        </p:txBody>
      </p:sp>
      <p:grpSp>
        <p:nvGrpSpPr>
          <p:cNvPr id="10" name="Gruppieren 9"/>
          <p:cNvGrpSpPr/>
          <p:nvPr/>
        </p:nvGrpSpPr>
        <p:grpSpPr>
          <a:xfrm>
            <a:off x="438151" y="1815815"/>
            <a:ext cx="3788652" cy="4375056"/>
            <a:chOff x="438151" y="1815815"/>
            <a:chExt cx="3788652" cy="4375056"/>
          </a:xfrm>
        </p:grpSpPr>
        <p:sp>
          <p:nvSpPr>
            <p:cNvPr id="12" name="Inhaltsplatzhalter 3"/>
            <p:cNvSpPr txBox="1">
              <a:spLocks/>
            </p:cNvSpPr>
            <p:nvPr/>
          </p:nvSpPr>
          <p:spPr>
            <a:xfrm>
              <a:off x="3869959" y="1815815"/>
              <a:ext cx="356844" cy="129726"/>
            </a:xfrm>
            <a:prstGeom prst="rect">
              <a:avLst/>
            </a:prstGeom>
          </p:spPr>
          <p:txBody>
            <a:bodyPr lIns="0" tIns="0" rIns="0" bIns="0">
              <a:noAutofit/>
            </a:bodyPr>
            <a:lstStyle>
              <a:lvl1pPr marL="342900" indent="-3429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457200" rtl="0" eaLnBrk="1" latinLnBrk="0" hangingPunct="1">
                <a:spcBef>
                  <a:spcPct val="20000"/>
                </a:spcBef>
                <a:buFont typeface="Arial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auto">
                <a:spcBef>
                  <a:spcPts val="0"/>
                </a:spcBef>
                <a:spcAft>
                  <a:spcPts val="1200"/>
                </a:spcAft>
                <a:buNone/>
              </a:pPr>
              <a:r>
                <a:rPr lang="de-CH" sz="800" dirty="0" smtClean="0">
                  <a:latin typeface="FuturaMedium" panose="020B0500000000000000" pitchFamily="34" charset="0"/>
                </a:rPr>
                <a:t>Pantli</a:t>
              </a:r>
              <a:endParaRPr lang="de-CH" sz="600" dirty="0" smtClean="0">
                <a:latin typeface="FuturaMedium" panose="020B0500000000000000" pitchFamily="34" charset="0"/>
              </a:endParaRPr>
            </a:p>
          </p:txBody>
        </p:sp>
        <p:cxnSp>
          <p:nvCxnSpPr>
            <p:cNvPr id="9" name="Gerader Verbinder 8"/>
            <p:cNvCxnSpPr/>
            <p:nvPr/>
          </p:nvCxnSpPr>
          <p:spPr>
            <a:xfrm flipV="1">
              <a:off x="3786124" y="1945541"/>
              <a:ext cx="0" cy="777526"/>
            </a:xfrm>
            <a:prstGeom prst="line">
              <a:avLst/>
            </a:prstGeom>
            <a:ln w="47625">
              <a:solidFill>
                <a:srgbClr val="FFC000"/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Rechteckige Legende 14"/>
            <p:cNvSpPr/>
            <p:nvPr/>
          </p:nvSpPr>
          <p:spPr>
            <a:xfrm>
              <a:off x="438151" y="3274828"/>
              <a:ext cx="2125940" cy="2916043"/>
            </a:xfrm>
            <a:prstGeom prst="wedgeRectCallout">
              <a:avLst>
                <a:gd name="adj1" fmla="val 105628"/>
                <a:gd name="adj2" fmla="val -82807"/>
              </a:avLst>
            </a:prstGeom>
            <a:noFill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 sz="2000" dirty="0" smtClean="0">
                <a:solidFill>
                  <a:schemeClr val="tx1"/>
                </a:solidFill>
                <a:latin typeface="FuturaMedium" panose="020B0500000000000000" pitchFamily="34" charset="0"/>
              </a:endParaRPr>
            </a:p>
          </p:txBody>
        </p:sp>
        <p:sp>
          <p:nvSpPr>
            <p:cNvPr id="4" name="Ellipse 3"/>
            <p:cNvSpPr/>
            <p:nvPr/>
          </p:nvSpPr>
          <p:spPr>
            <a:xfrm>
              <a:off x="3742853" y="1828802"/>
              <a:ext cx="87363" cy="87363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282262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1856">
        <p:fade/>
      </p:transition>
    </mc:Choice>
    <mc:Fallback xmlns="">
      <p:transition spd="med" advTm="11856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 animBg="1"/>
      <p:bldP spid="8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 txBox="1">
            <a:spLocks noChangeArrowheads="1"/>
          </p:cNvSpPr>
          <p:nvPr>
            <p:custDataLst>
              <p:tags r:id="rId2"/>
            </p:custDataLst>
          </p:nvPr>
        </p:nvSpPr>
        <p:spPr>
          <a:xfrm>
            <a:off x="438151" y="936763"/>
            <a:ext cx="11298220" cy="810051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rmAutofit fontScale="97500"/>
          </a:bodyPr>
          <a:lstStyle/>
          <a:p>
            <a:pPr>
              <a:defRPr/>
            </a:pPr>
            <a:r>
              <a:rPr lang="de-CH" sz="2700" b="1" kern="0" dirty="0" smtClean="0">
                <a:latin typeface="FuturaMedium" panose="020B0500000000000000" pitchFamily="34" charset="0"/>
                <a:ea typeface="Arial" charset="0"/>
                <a:cs typeface="Arial" panose="020B0604020202020204" pitchFamily="34" charset="0"/>
              </a:rPr>
              <a:t>Geplante Haltestellen und Infrastruktur</a:t>
            </a:r>
            <a:endParaRPr lang="de-CH" sz="2700" b="1" kern="0" dirty="0">
              <a:latin typeface="FuturaMedium" panose="020B0500000000000000" pitchFamily="34" charset="0"/>
              <a:ea typeface="Arial" charset="0"/>
              <a:cs typeface="Arial" panose="020B0604020202020204" pitchFamily="34" charset="0"/>
            </a:endParaRPr>
          </a:p>
        </p:txBody>
      </p:sp>
      <p:pic>
        <p:nvPicPr>
          <p:cNvPr id="13" name="Picture 2" descr="linien_haltestellen_herblingen_1_10000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150" y="1581180"/>
            <a:ext cx="4605189" cy="4930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hteckige Legende 1"/>
          <p:cNvSpPr/>
          <p:nvPr/>
        </p:nvSpPr>
        <p:spPr>
          <a:xfrm>
            <a:off x="5580668" y="1581180"/>
            <a:ext cx="6155703" cy="612000"/>
          </a:xfrm>
          <a:prstGeom prst="wedgeRectCallout">
            <a:avLst>
              <a:gd name="adj1" fmla="val -77047"/>
              <a:gd name="adj2" fmla="val -10628"/>
            </a:avLst>
          </a:prstGeom>
          <a:solidFill>
            <a:srgbClr val="FFFFFF">
              <a:alpha val="61176"/>
            </a:srgb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2000" b="1" dirty="0" smtClean="0">
                <a:solidFill>
                  <a:schemeClr val="tx1"/>
                </a:solidFill>
                <a:latin typeface="FuturaMedium" panose="020B0500000000000000" pitchFamily="34" charset="0"/>
              </a:rPr>
              <a:t>Wendeplatz mit Haltestelle</a:t>
            </a:r>
            <a:endParaRPr lang="de-CH" sz="2000" dirty="0" smtClean="0">
              <a:solidFill>
                <a:schemeClr val="tx1"/>
              </a:solidFill>
              <a:latin typeface="FuturaMedium" panose="020B0500000000000000" pitchFamily="34" charset="0"/>
            </a:endParaRPr>
          </a:p>
        </p:txBody>
      </p:sp>
      <p:sp>
        <p:nvSpPr>
          <p:cNvPr id="14" name="Rechteckige Legende 13"/>
          <p:cNvSpPr/>
          <p:nvPr/>
        </p:nvSpPr>
        <p:spPr>
          <a:xfrm>
            <a:off x="5580667" y="2303078"/>
            <a:ext cx="6155703" cy="612000"/>
          </a:xfrm>
          <a:prstGeom prst="wedgeRectCallout">
            <a:avLst>
              <a:gd name="adj1" fmla="val -75057"/>
              <a:gd name="adj2" fmla="val 30548"/>
            </a:avLst>
          </a:prstGeom>
          <a:solidFill>
            <a:srgbClr val="FFFFFF">
              <a:alpha val="61176"/>
            </a:srgb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2000" b="1" dirty="0" smtClean="0">
                <a:solidFill>
                  <a:schemeClr val="tx1"/>
                </a:solidFill>
                <a:latin typeface="FuturaMedium" panose="020B0500000000000000" pitchFamily="34" charset="0"/>
              </a:rPr>
              <a:t>div. </a:t>
            </a:r>
            <a:r>
              <a:rPr lang="de-CH" sz="2000" b="1" dirty="0" err="1" smtClean="0">
                <a:solidFill>
                  <a:schemeClr val="tx1"/>
                </a:solidFill>
                <a:latin typeface="FuturaMedium" panose="020B0500000000000000" pitchFamily="34" charset="0"/>
              </a:rPr>
              <a:t>Unterwegshaltestellen</a:t>
            </a:r>
            <a:r>
              <a:rPr lang="de-CH" sz="2000" b="1" dirty="0" smtClean="0">
                <a:solidFill>
                  <a:schemeClr val="tx1"/>
                </a:solidFill>
                <a:latin typeface="FuturaMedium" panose="020B0500000000000000" pitchFamily="34" charset="0"/>
              </a:rPr>
              <a:t> </a:t>
            </a:r>
            <a:r>
              <a:rPr lang="de-CH" sz="2000" dirty="0" smtClean="0">
                <a:solidFill>
                  <a:schemeClr val="tx1"/>
                </a:solidFill>
                <a:latin typeface="FuturaMedium" panose="020B0500000000000000" pitchFamily="34" charset="0"/>
              </a:rPr>
              <a:t>(z.T. mit </a:t>
            </a:r>
            <a:r>
              <a:rPr lang="de-CH" sz="2000" dirty="0" err="1" smtClean="0">
                <a:solidFill>
                  <a:schemeClr val="tx1"/>
                </a:solidFill>
                <a:latin typeface="FuturaMedium" panose="020B0500000000000000" pitchFamily="34" charset="0"/>
              </a:rPr>
              <a:t>Bushüsli</a:t>
            </a:r>
            <a:r>
              <a:rPr lang="de-CH" sz="2000" dirty="0" smtClean="0">
                <a:solidFill>
                  <a:schemeClr val="tx1"/>
                </a:solidFill>
                <a:latin typeface="FuturaMedium" panose="020B0500000000000000" pitchFamily="34" charset="0"/>
              </a:rPr>
              <a:t>)</a:t>
            </a:r>
          </a:p>
        </p:txBody>
      </p:sp>
      <p:sp>
        <p:nvSpPr>
          <p:cNvPr id="16" name="Rechteckige Legende 15"/>
          <p:cNvSpPr/>
          <p:nvPr/>
        </p:nvSpPr>
        <p:spPr>
          <a:xfrm>
            <a:off x="5580667" y="3756859"/>
            <a:ext cx="6155703" cy="1178249"/>
          </a:xfrm>
          <a:prstGeom prst="wedgeRectCallout">
            <a:avLst>
              <a:gd name="adj1" fmla="val -80110"/>
              <a:gd name="adj2" fmla="val -43245"/>
            </a:avLst>
          </a:prstGeom>
          <a:solidFill>
            <a:srgbClr val="FFFFFF">
              <a:alpha val="61176"/>
            </a:srgb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2000" b="1" dirty="0" smtClean="0">
                <a:solidFill>
                  <a:schemeClr val="tx1"/>
                </a:solidFill>
                <a:latin typeface="FuturaMedium" panose="020B0500000000000000" pitchFamily="34" charset="0"/>
              </a:rPr>
              <a:t>Busschleuse im </a:t>
            </a:r>
            <a:r>
              <a:rPr lang="de-CH" sz="2000" b="1" dirty="0" err="1" smtClean="0">
                <a:solidFill>
                  <a:schemeClr val="tx1"/>
                </a:solidFill>
                <a:latin typeface="FuturaMedium" panose="020B0500000000000000" pitchFamily="34" charset="0"/>
              </a:rPr>
              <a:t>Brüel</a:t>
            </a:r>
            <a:r>
              <a:rPr lang="de-CH" sz="2000" b="1" dirty="0" smtClean="0">
                <a:solidFill>
                  <a:schemeClr val="tx1"/>
                </a:solidFill>
                <a:latin typeface="FuturaMedium" panose="020B0500000000000000" pitchFamily="34" charset="0"/>
              </a:rPr>
              <a:t/>
            </a:r>
            <a:br>
              <a:rPr lang="de-CH" sz="2000" b="1" dirty="0" smtClean="0">
                <a:solidFill>
                  <a:schemeClr val="tx1"/>
                </a:solidFill>
                <a:latin typeface="FuturaMedium" panose="020B0500000000000000" pitchFamily="34" charset="0"/>
              </a:rPr>
            </a:br>
            <a:r>
              <a:rPr lang="de-CH" sz="1800" dirty="0" smtClean="0">
                <a:solidFill>
                  <a:schemeClr val="tx1"/>
                </a:solidFill>
                <a:latin typeface="FuturaMedium" panose="020B0500000000000000" pitchFamily="34" charset="0"/>
              </a:rPr>
              <a:t>(Die Bus-Schleuse ist nötig wegen der Kurvengeometrie. Nur so kann die Haltestelle Post sauber angefahren werden)</a:t>
            </a:r>
          </a:p>
        </p:txBody>
      </p:sp>
      <p:sp>
        <p:nvSpPr>
          <p:cNvPr id="18" name="Rechteckige Legende 17"/>
          <p:cNvSpPr/>
          <p:nvPr/>
        </p:nvSpPr>
        <p:spPr>
          <a:xfrm>
            <a:off x="5580666" y="3034961"/>
            <a:ext cx="6155703" cy="612000"/>
          </a:xfrm>
          <a:prstGeom prst="wedgeRectCallout">
            <a:avLst>
              <a:gd name="adj1" fmla="val -75057"/>
              <a:gd name="adj2" fmla="val 30548"/>
            </a:avLst>
          </a:prstGeom>
          <a:solidFill>
            <a:srgbClr val="FFFFFF">
              <a:alpha val="61176"/>
            </a:srgb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2000" b="1" dirty="0" err="1" smtClean="0">
                <a:solidFill>
                  <a:schemeClr val="tx1"/>
                </a:solidFill>
                <a:latin typeface="FuturaMedium" panose="020B0500000000000000" pitchFamily="34" charset="0"/>
              </a:rPr>
              <a:t>Einlenker</a:t>
            </a:r>
            <a:r>
              <a:rPr lang="de-CH" sz="2000" b="1" dirty="0" smtClean="0">
                <a:solidFill>
                  <a:schemeClr val="tx1"/>
                </a:solidFill>
                <a:latin typeface="FuturaMedium" panose="020B0500000000000000" pitchFamily="34" charset="0"/>
              </a:rPr>
              <a:t> Neutalstrasse </a:t>
            </a:r>
            <a:r>
              <a:rPr lang="de-CH" sz="2000" dirty="0" smtClean="0">
                <a:solidFill>
                  <a:schemeClr val="tx1"/>
                </a:solidFill>
                <a:latin typeface="FuturaMedium" panose="020B0500000000000000" pitchFamily="34" charset="0"/>
              </a:rPr>
              <a:t>(Verbreiterung Strasse)</a:t>
            </a:r>
          </a:p>
        </p:txBody>
      </p:sp>
      <p:sp>
        <p:nvSpPr>
          <p:cNvPr id="3" name="Rechteck 2"/>
          <p:cNvSpPr/>
          <p:nvPr/>
        </p:nvSpPr>
        <p:spPr>
          <a:xfrm>
            <a:off x="5580665" y="5067732"/>
            <a:ext cx="6155703" cy="621985"/>
          </a:xfrm>
          <a:prstGeom prst="rect">
            <a:avLst/>
          </a:prstGeom>
          <a:solidFill>
            <a:srgbClr val="FFFFFF">
              <a:alpha val="61176"/>
            </a:srgb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2000" dirty="0" smtClean="0">
                <a:solidFill>
                  <a:schemeClr val="tx1"/>
                </a:solidFill>
                <a:latin typeface="FuturaMedium" panose="020B0500000000000000" pitchFamily="34" charset="0"/>
              </a:rPr>
              <a:t>Alle Haltestellen werden behindertengerecht ausgebaut.</a:t>
            </a:r>
            <a:endParaRPr lang="de-CH" sz="2000" dirty="0">
              <a:solidFill>
                <a:schemeClr val="tx1"/>
              </a:solidFill>
              <a:latin typeface="FuturaMedium" panose="020B0500000000000000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0483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3822">
        <p:fade/>
      </p:transition>
    </mc:Choice>
    <mc:Fallback xmlns="">
      <p:transition spd="med" advTm="13822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4" grpId="0" animBg="1"/>
      <p:bldP spid="16" grpId="0" animBg="1"/>
      <p:bldP spid="18" grpId="0" animBg="1"/>
      <p:bldP spid="3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438151" y="936763"/>
            <a:ext cx="11298220" cy="810051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rmAutofit fontScale="97500"/>
          </a:bodyPr>
          <a:lstStyle/>
          <a:p>
            <a:pPr>
              <a:defRPr/>
            </a:pPr>
            <a:r>
              <a:rPr lang="de-CH" sz="2700" b="1" kern="0" dirty="0" smtClean="0">
                <a:latin typeface="FuturaMedium" panose="020B0500000000000000" pitchFamily="34" charset="0"/>
                <a:ea typeface="Arial" charset="0"/>
                <a:cs typeface="Arial" panose="020B0604020202020204" pitchFamily="34" charset="0"/>
              </a:rPr>
              <a:t>Betriebskosten</a:t>
            </a:r>
            <a:endParaRPr lang="de-CH" sz="2700" b="1" kern="0" dirty="0">
              <a:latin typeface="FuturaMedium" panose="020B0500000000000000" pitchFamily="34" charset="0"/>
              <a:ea typeface="Arial" charset="0"/>
              <a:cs typeface="Arial" panose="020B0604020202020204" pitchFamily="34" charset="0"/>
            </a:endParaRPr>
          </a:p>
        </p:txBody>
      </p:sp>
      <p:sp>
        <p:nvSpPr>
          <p:cNvPr id="12" name="Inhaltsplatzhalter 3"/>
          <p:cNvSpPr txBox="1">
            <a:spLocks/>
          </p:cNvSpPr>
          <p:nvPr/>
        </p:nvSpPr>
        <p:spPr>
          <a:xfrm>
            <a:off x="433137" y="1671808"/>
            <a:ext cx="11180686" cy="48544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Bef>
                <a:spcPts val="0"/>
              </a:spcBef>
              <a:spcAft>
                <a:spcPts val="1200"/>
              </a:spcAft>
              <a:buNone/>
            </a:pPr>
            <a:r>
              <a:rPr lang="de-CH" sz="2000" dirty="0" smtClean="0">
                <a:latin typeface="FuturaMedium" panose="020B0500000000000000" pitchFamily="34" charset="0"/>
              </a:rPr>
              <a:t>Bei den Verkehrsbetrieben entstehen Brutto-Merkosten von 895’000 Franken/Jahr:</a:t>
            </a:r>
            <a:endParaRPr lang="de-CH" sz="1600" dirty="0" smtClean="0">
              <a:latin typeface="FuturaMedium" panose="020B0500000000000000" pitchFamily="34" charset="0"/>
            </a:endParaRPr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8578335"/>
              </p:ext>
            </p:extLst>
          </p:nvPr>
        </p:nvGraphicFramePr>
        <p:xfrm>
          <a:off x="433137" y="2157254"/>
          <a:ext cx="11180686" cy="2301623"/>
        </p:xfrm>
        <a:graphic>
          <a:graphicData uri="http://schemas.openxmlformats.org/drawingml/2006/table">
            <a:tbl>
              <a:tblPr firstRow="1" firstCol="1" bandRow="1"/>
              <a:tblGrid>
                <a:gridCol w="858873"/>
                <a:gridCol w="4831009"/>
                <a:gridCol w="1830268"/>
                <a:gridCol w="1830268"/>
                <a:gridCol w="1830268"/>
              </a:tblGrid>
              <a:tr h="328803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de-CH" sz="2000" b="1" dirty="0">
                          <a:effectLst/>
                          <a:latin typeface="FuturaMedium" panose="020B0500000000000000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inie</a:t>
                      </a:r>
                      <a:endParaRPr lang="de-CH" sz="2000" dirty="0">
                        <a:effectLst/>
                        <a:latin typeface="FuturaMedium" panose="020B0500000000000000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de-CH" sz="2000" b="1" dirty="0">
                          <a:effectLst/>
                          <a:latin typeface="FuturaMedium" panose="020B0500000000000000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assnahmen</a:t>
                      </a:r>
                      <a:endParaRPr lang="de-CH" sz="2000" dirty="0">
                        <a:effectLst/>
                        <a:latin typeface="FuturaMedium" panose="020B0500000000000000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de-CH" sz="2000" b="1">
                          <a:effectLst/>
                          <a:latin typeface="FuturaMedium" panose="020B0500000000000000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pl-Km</a:t>
                      </a:r>
                      <a:endParaRPr lang="de-CH" sz="2000">
                        <a:effectLst/>
                        <a:latin typeface="FuturaMedium" panose="020B0500000000000000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de-CH" sz="2000" b="1">
                          <a:effectLst/>
                          <a:latin typeface="FuturaMedium" panose="020B0500000000000000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pl-Std.</a:t>
                      </a:r>
                      <a:endParaRPr lang="de-CH" sz="2000">
                        <a:effectLst/>
                        <a:latin typeface="FuturaMedium" panose="020B0500000000000000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de-CH" sz="2000" b="1">
                          <a:effectLst/>
                          <a:latin typeface="FuturaMedium" panose="020B0500000000000000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Kosten </a:t>
                      </a:r>
                      <a:r>
                        <a:rPr lang="de-CH" sz="2000" b="1">
                          <a:effectLst/>
                          <a:latin typeface="FuturaMedium" panose="020B0500000000000000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[Fr.]</a:t>
                      </a:r>
                      <a:endParaRPr lang="de-CH" sz="2000">
                        <a:effectLst/>
                        <a:latin typeface="FuturaMedium" panose="020B0500000000000000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328803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de-CH" sz="2000">
                          <a:effectLst/>
                          <a:latin typeface="FuturaMedium" panose="020B0500000000000000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5</a:t>
                      </a:r>
                      <a:endParaRPr lang="de-CH" sz="2000">
                        <a:effectLst/>
                        <a:latin typeface="FuturaMedium" panose="020B0500000000000000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de-CH" sz="2000" dirty="0">
                          <a:effectLst/>
                          <a:latin typeface="FuturaMedium" panose="020B0500000000000000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erlängerung bis </a:t>
                      </a:r>
                      <a:r>
                        <a:rPr lang="de-CH" sz="2000" dirty="0" err="1">
                          <a:effectLst/>
                          <a:latin typeface="FuturaMedium" panose="020B0500000000000000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Gründliacker</a:t>
                      </a:r>
                      <a:endParaRPr lang="de-CH" sz="2000" dirty="0">
                        <a:effectLst/>
                        <a:latin typeface="FuturaMedium" panose="020B0500000000000000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36195" algn="r"/>
                        </a:tabLst>
                      </a:pPr>
                      <a:r>
                        <a:rPr lang="de-CH" sz="2000" dirty="0" smtClean="0">
                          <a:effectLst/>
                          <a:latin typeface="FuturaMedium" panose="020B0500000000000000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+ 65'054</a:t>
                      </a:r>
                      <a:endParaRPr lang="de-CH" sz="2000" dirty="0">
                        <a:effectLst/>
                        <a:latin typeface="FuturaMedium" panose="020B0500000000000000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de-CH" sz="2000">
                          <a:effectLst/>
                          <a:latin typeface="FuturaMedium" panose="020B0500000000000000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+ 5'697</a:t>
                      </a:r>
                      <a:endParaRPr lang="de-CH" sz="2000">
                        <a:effectLst/>
                        <a:latin typeface="FuturaMedium" panose="020B0500000000000000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de-CH" sz="2000">
                          <a:effectLst/>
                          <a:latin typeface="FuturaMedium" panose="020B0500000000000000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+ 650'000</a:t>
                      </a:r>
                      <a:endParaRPr lang="de-CH" sz="2000">
                        <a:effectLst/>
                        <a:latin typeface="FuturaMedium" panose="020B0500000000000000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57607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de-CH" sz="2000" dirty="0">
                          <a:effectLst/>
                          <a:latin typeface="FuturaMedium" panose="020B0500000000000000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6</a:t>
                      </a:r>
                      <a:endParaRPr lang="de-CH" sz="2000" dirty="0">
                        <a:effectLst/>
                        <a:latin typeface="FuturaMedium" panose="020B0500000000000000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de-CH" sz="2000" dirty="0">
                          <a:effectLst/>
                          <a:latin typeface="FuturaMedium" panose="020B0500000000000000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erkürzung bis Falkeneck</a:t>
                      </a:r>
                      <a:br>
                        <a:rPr lang="de-CH" sz="2000" dirty="0">
                          <a:effectLst/>
                          <a:latin typeface="FuturaMedium" panose="020B0500000000000000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</a:br>
                      <a:r>
                        <a:rPr lang="de-CH" sz="2000" dirty="0">
                          <a:effectLst/>
                          <a:latin typeface="FuturaMedium" panose="020B0500000000000000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tatt bis Ebnat</a:t>
                      </a:r>
                      <a:endParaRPr lang="de-CH" sz="2000" dirty="0">
                        <a:effectLst/>
                        <a:latin typeface="FuturaMedium" panose="020B0500000000000000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de-CH" sz="2000" dirty="0">
                          <a:effectLst/>
                          <a:latin typeface="FuturaMedium" panose="020B0500000000000000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- 83'081</a:t>
                      </a:r>
                      <a:endParaRPr lang="de-CH" sz="2000" dirty="0">
                        <a:effectLst/>
                        <a:latin typeface="FuturaMedium" panose="020B0500000000000000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de-CH" sz="2000" dirty="0">
                          <a:effectLst/>
                          <a:latin typeface="FuturaMedium" panose="020B0500000000000000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- 3'389</a:t>
                      </a:r>
                      <a:endParaRPr lang="de-CH" sz="2000" dirty="0">
                        <a:effectLst/>
                        <a:latin typeface="FuturaMedium" panose="020B0500000000000000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de-CH" sz="2000">
                          <a:effectLst/>
                          <a:latin typeface="FuturaMedium" panose="020B0500000000000000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- 440'000</a:t>
                      </a:r>
                      <a:endParaRPr lang="de-CH" sz="2000">
                        <a:effectLst/>
                        <a:latin typeface="FuturaMedium" panose="020B0500000000000000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57607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de-CH" sz="2000">
                          <a:effectLst/>
                          <a:latin typeface="FuturaMedium" panose="020B0500000000000000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9</a:t>
                      </a:r>
                      <a:endParaRPr lang="de-CH" sz="2000">
                        <a:effectLst/>
                        <a:latin typeface="FuturaMedium" panose="020B0500000000000000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de-CH" sz="2000">
                          <a:effectLst/>
                          <a:latin typeface="FuturaMedium" panose="020B0500000000000000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rschliessung Herblingertal</a:t>
                      </a:r>
                      <a:br>
                        <a:rPr lang="de-CH" sz="2000">
                          <a:effectLst/>
                          <a:latin typeface="FuturaMedium" panose="020B0500000000000000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</a:br>
                      <a:r>
                        <a:rPr lang="de-CH" sz="2000">
                          <a:effectLst/>
                          <a:latin typeface="FuturaMedium" panose="020B0500000000000000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und S-Bahn Herblingen</a:t>
                      </a:r>
                      <a:endParaRPr lang="de-CH" sz="2000">
                        <a:effectLst/>
                        <a:latin typeface="FuturaMedium" panose="020B0500000000000000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21590" indent="0" algn="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de-CH" sz="2000" dirty="0">
                          <a:effectLst/>
                          <a:latin typeface="FuturaMedium" panose="020B0500000000000000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+ 107'644</a:t>
                      </a:r>
                      <a:endParaRPr lang="de-CH" sz="2000" dirty="0">
                        <a:effectLst/>
                        <a:latin typeface="FuturaMedium" panose="020B0500000000000000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de-CH" sz="2000" dirty="0">
                          <a:effectLst/>
                          <a:latin typeface="FuturaMedium" panose="020B0500000000000000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+ 5'530</a:t>
                      </a:r>
                      <a:endParaRPr lang="de-CH" sz="2000" dirty="0">
                        <a:effectLst/>
                        <a:latin typeface="FuturaMedium" panose="020B0500000000000000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de-CH" sz="2000" dirty="0">
                          <a:effectLst/>
                          <a:latin typeface="FuturaMedium" panose="020B0500000000000000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+ 685'000</a:t>
                      </a:r>
                      <a:endParaRPr lang="de-CH" sz="2000" dirty="0">
                        <a:effectLst/>
                        <a:latin typeface="FuturaMedium" panose="020B0500000000000000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8803">
                <a:tc gridSpan="2">
                  <a:txBody>
                    <a:bodyPr/>
                    <a:lstStyle/>
                    <a:p>
                      <a:pPr marL="0" indent="0" algn="l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de-CH" sz="2000" b="1" dirty="0">
                          <a:effectLst/>
                          <a:latin typeface="FuturaMedium" panose="020B0500000000000000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ehrleistung / Brutto-Mehrkosten</a:t>
                      </a:r>
                      <a:endParaRPr lang="de-CH" sz="2000" dirty="0">
                        <a:effectLst/>
                        <a:latin typeface="FuturaMedium" panose="020B0500000000000000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de-CH" sz="2000" b="1">
                          <a:effectLst/>
                          <a:latin typeface="FuturaMedium" panose="020B0500000000000000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+ 89'617</a:t>
                      </a:r>
                      <a:endParaRPr lang="de-CH" sz="2000">
                        <a:effectLst/>
                        <a:latin typeface="FuturaMedium" panose="020B0500000000000000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de-CH" sz="2000" b="1">
                          <a:effectLst/>
                          <a:latin typeface="FuturaMedium" panose="020B0500000000000000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+ 7'838</a:t>
                      </a:r>
                      <a:endParaRPr lang="de-CH" sz="2000">
                        <a:effectLst/>
                        <a:latin typeface="FuturaMedium" panose="020B0500000000000000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de-CH" sz="2000" b="1" dirty="0">
                          <a:effectLst/>
                          <a:latin typeface="FuturaMedium" panose="020B0500000000000000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+ 895'000</a:t>
                      </a:r>
                      <a:endParaRPr lang="de-CH" sz="2000" dirty="0">
                        <a:effectLst/>
                        <a:latin typeface="FuturaMedium" panose="020B0500000000000000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7" name="Inhaltsplatzhalter 3"/>
          <p:cNvSpPr txBox="1">
            <a:spLocks/>
          </p:cNvSpPr>
          <p:nvPr/>
        </p:nvSpPr>
        <p:spPr>
          <a:xfrm>
            <a:off x="433137" y="4784473"/>
            <a:ext cx="11180686" cy="143721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Bef>
                <a:spcPts val="0"/>
              </a:spcBef>
              <a:spcAft>
                <a:spcPts val="1200"/>
              </a:spcAft>
              <a:buNone/>
            </a:pPr>
            <a:r>
              <a:rPr lang="de-CH" sz="2000" dirty="0" smtClean="0">
                <a:latin typeface="FuturaMedium" panose="020B0500000000000000" pitchFamily="34" charset="0"/>
              </a:rPr>
              <a:t>Im ersten Jahr nach der Einführung des neuen Linienkonzeptes wird mit anfänglichen Verkehrsmehrerträgen von rund 200’000 Franken gerechnet.</a:t>
            </a:r>
          </a:p>
          <a:p>
            <a:pPr marL="0" indent="0" fontAlgn="auto">
              <a:spcBef>
                <a:spcPts val="0"/>
              </a:spcBef>
              <a:spcAft>
                <a:spcPts val="1200"/>
              </a:spcAft>
              <a:buNone/>
            </a:pPr>
            <a:r>
              <a:rPr lang="de-CH" sz="2000" dirty="0" smtClean="0">
                <a:latin typeface="FuturaMedium" panose="020B0500000000000000" pitchFamily="34" charset="0"/>
              </a:rPr>
              <a:t>Von der Differenz (695’000 Franken) werden 570’000 Franken (82%) von der Stadt und 125’000 Franken (18%) vom Kanton als ungedeckte Kosten des öffentlichen Verkehrs getragen.</a:t>
            </a:r>
            <a:endParaRPr lang="de-CH" sz="1600" dirty="0" smtClean="0">
              <a:latin typeface="FuturaMedium" panose="020B0500000000000000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9865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4424">
        <p:fade/>
      </p:transition>
    </mc:Choice>
    <mc:Fallback xmlns="">
      <p:transition spd="med" advTm="14424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438151" y="936763"/>
            <a:ext cx="11298220" cy="810051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rmAutofit fontScale="97500"/>
          </a:bodyPr>
          <a:lstStyle/>
          <a:p>
            <a:pPr>
              <a:defRPr/>
            </a:pPr>
            <a:r>
              <a:rPr lang="de-CH" sz="2700" b="1" kern="0" dirty="0" smtClean="0">
                <a:latin typeface="FuturaMedium" panose="020B0500000000000000" pitchFamily="34" charset="0"/>
                <a:ea typeface="Arial" charset="0"/>
                <a:cs typeface="Arial" panose="020B0604020202020204" pitchFamily="34" charset="0"/>
              </a:rPr>
              <a:t>Investitionskosten</a:t>
            </a:r>
            <a:endParaRPr lang="de-CH" sz="2700" b="1" kern="0" dirty="0">
              <a:latin typeface="FuturaMedium" panose="020B0500000000000000" pitchFamily="34" charset="0"/>
              <a:ea typeface="Arial" charset="0"/>
              <a:cs typeface="Arial" panose="020B0604020202020204" pitchFamily="34" charset="0"/>
            </a:endParaRPr>
          </a:p>
        </p:txBody>
      </p:sp>
      <p:sp>
        <p:nvSpPr>
          <p:cNvPr id="12" name="Inhaltsplatzhalter 3"/>
          <p:cNvSpPr txBox="1">
            <a:spLocks/>
          </p:cNvSpPr>
          <p:nvPr/>
        </p:nvSpPr>
        <p:spPr>
          <a:xfrm>
            <a:off x="433137" y="1671808"/>
            <a:ext cx="11180686" cy="48544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 fontAlgn="auto">
              <a:spcBef>
                <a:spcPts val="0"/>
              </a:spcBef>
              <a:spcAft>
                <a:spcPts val="1200"/>
              </a:spcAft>
              <a:buAutoNum type="alphaLcParenR"/>
            </a:pPr>
            <a:r>
              <a:rPr lang="de-CH" sz="2000" b="1" dirty="0" smtClean="0">
                <a:latin typeface="FuturaMedium" panose="020B0500000000000000" pitchFamily="34" charset="0"/>
              </a:rPr>
              <a:t>Investitionskosten für Infrastrukturbauten: 1.2 Mio. Franken</a:t>
            </a:r>
          </a:p>
          <a:p>
            <a:pPr marL="0" indent="0" fontAlgn="auto">
              <a:spcBef>
                <a:spcPts val="0"/>
              </a:spcBef>
              <a:spcAft>
                <a:spcPts val="1200"/>
              </a:spcAft>
              <a:buNone/>
            </a:pPr>
            <a:r>
              <a:rPr lang="de-CH" sz="2000" dirty="0">
                <a:latin typeface="FuturaMedium" panose="020B0500000000000000" pitchFamily="34" charset="0"/>
              </a:rPr>
              <a:t>	</a:t>
            </a:r>
            <a:r>
              <a:rPr lang="de-CH" sz="2000" dirty="0" smtClean="0">
                <a:latin typeface="FuturaMedium" panose="020B0500000000000000" pitchFamily="34" charset="0"/>
              </a:rPr>
              <a:t>(Wendeplatz, Busschleuse, Haltestellen, </a:t>
            </a:r>
            <a:r>
              <a:rPr lang="de-CH" sz="2000" dirty="0" err="1" smtClean="0">
                <a:latin typeface="FuturaMedium" panose="020B0500000000000000" pitchFamily="34" charset="0"/>
              </a:rPr>
              <a:t>Bushüsli</a:t>
            </a:r>
            <a:r>
              <a:rPr lang="de-CH" sz="2000" dirty="0" smtClean="0">
                <a:latin typeface="FuturaMedium" panose="020B0500000000000000" pitchFamily="34" charset="0"/>
              </a:rPr>
              <a:t>, </a:t>
            </a:r>
            <a:r>
              <a:rPr lang="de-CH" sz="2000" dirty="0" err="1" smtClean="0">
                <a:latin typeface="FuturaMedium" panose="020B0500000000000000" pitchFamily="34" charset="0"/>
              </a:rPr>
              <a:t>Einlenker</a:t>
            </a:r>
            <a:r>
              <a:rPr lang="de-CH" sz="2000" dirty="0" smtClean="0">
                <a:latin typeface="FuturaMedium" panose="020B0500000000000000" pitchFamily="34" charset="0"/>
              </a:rPr>
              <a:t>, …)</a:t>
            </a:r>
          </a:p>
          <a:p>
            <a:pPr marL="0" indent="0" fontAlgn="auto">
              <a:spcBef>
                <a:spcPts val="0"/>
              </a:spcBef>
              <a:spcAft>
                <a:spcPts val="1200"/>
              </a:spcAft>
              <a:buNone/>
            </a:pPr>
            <a:r>
              <a:rPr lang="de-CH" sz="2000" dirty="0">
                <a:latin typeface="FuturaMedium" panose="020B0500000000000000" pitchFamily="34" charset="0"/>
              </a:rPr>
              <a:t>	</a:t>
            </a:r>
            <a:r>
              <a:rPr lang="de-CH" sz="2000" dirty="0" smtClean="0">
                <a:latin typeface="FuturaMedium" panose="020B0500000000000000" pitchFamily="34" charset="0"/>
                <a:sym typeface="Wingdings 3" panose="05040102010807070707" pitchFamily="18" charset="2"/>
              </a:rPr>
              <a:t> Mitfinanzierung im Rahmen des Agglomerationsprogrammes: </a:t>
            </a:r>
            <a:r>
              <a:rPr lang="de-CH" sz="2000" dirty="0" smtClean="0">
                <a:latin typeface="FuturaMedium" panose="020B0500000000000000" pitchFamily="34" charset="0"/>
              </a:rPr>
              <a:t>40% Bund und 30% Kanton</a:t>
            </a:r>
          </a:p>
          <a:p>
            <a:pPr marL="0" indent="0" fontAlgn="auto">
              <a:spcBef>
                <a:spcPts val="0"/>
              </a:spcBef>
              <a:spcAft>
                <a:spcPts val="1200"/>
              </a:spcAft>
              <a:buNone/>
            </a:pPr>
            <a:r>
              <a:rPr lang="de-CH" sz="2000" dirty="0" smtClean="0">
                <a:latin typeface="FuturaMedium" panose="020B0500000000000000" pitchFamily="34" charset="0"/>
              </a:rPr>
              <a:t> </a:t>
            </a:r>
            <a:endParaRPr lang="de-CH" sz="1000" dirty="0">
              <a:latin typeface="FuturaMedium" panose="020B0500000000000000" pitchFamily="34" charset="0"/>
            </a:endParaRPr>
          </a:p>
          <a:p>
            <a:pPr marL="0" indent="0" fontAlgn="auto">
              <a:spcBef>
                <a:spcPts val="0"/>
              </a:spcBef>
              <a:spcAft>
                <a:spcPts val="1200"/>
              </a:spcAft>
              <a:buNone/>
            </a:pPr>
            <a:r>
              <a:rPr lang="de-CH" sz="2000" b="1" dirty="0" smtClean="0">
                <a:latin typeface="FuturaMedium" panose="020B0500000000000000" pitchFamily="34" charset="0"/>
              </a:rPr>
              <a:t>b)	Investitionskosten bei der VBSH: 895’000 Franken</a:t>
            </a:r>
          </a:p>
          <a:p>
            <a:pPr marL="0" indent="0" fontAlgn="auto">
              <a:spcBef>
                <a:spcPts val="0"/>
              </a:spcBef>
              <a:spcAft>
                <a:spcPts val="1200"/>
              </a:spcAft>
              <a:buNone/>
            </a:pPr>
            <a:r>
              <a:rPr lang="de-CH" sz="2000" b="1" dirty="0">
                <a:latin typeface="FuturaMedium" panose="020B0500000000000000" pitchFamily="34" charset="0"/>
              </a:rPr>
              <a:t>	</a:t>
            </a:r>
            <a:r>
              <a:rPr lang="de-CH" sz="2000" dirty="0" smtClean="0">
                <a:latin typeface="FuturaMedium" panose="020B0500000000000000" pitchFamily="34" charset="0"/>
              </a:rPr>
              <a:t>(für zwei Busse und die Haltestelleninfrastruktur) </a:t>
            </a:r>
          </a:p>
          <a:p>
            <a:pPr marL="0" indent="0" fontAlgn="auto">
              <a:spcBef>
                <a:spcPts val="0"/>
              </a:spcBef>
              <a:spcAft>
                <a:spcPts val="1200"/>
              </a:spcAft>
              <a:buNone/>
            </a:pPr>
            <a:endParaRPr lang="de-CH" sz="1600" dirty="0" smtClean="0">
              <a:latin typeface="FuturaMedium" panose="020B0500000000000000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1845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9028">
        <p:fade/>
      </p:transition>
    </mc:Choice>
    <mc:Fallback xmlns="">
      <p:transition spd="med" advTm="9028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O3WfNxV0mE_pVBgf5Xz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O3WfNxV0mE_pVBgf5Xz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O3WfNxV0mE_pVBgf5Xz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O3WfNxV0mE_pVBgf5Xz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0.6|9.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O3WfNxV0mE_pVBgf5Xz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O3WfNxV0mE_pVBgf5Xz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O3WfNxV0mE_pVBgf5Xz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O3WfNxV0mE_pVBgf5Xz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O3WfNxV0mE_pVBgf5Xz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O3WfNxV0mE_pVBgf5Xz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O3WfNxV0mE_pVBgf5Xz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O3WfNxV0mE_pVBgf5Xz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O3WfNxV0mE_pVBgf5Xz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1|1.5|1.5|1.9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O3WfNxV0mE_pVBgf5Xz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0.6|1.1|1.5|1.5|2.3"/>
</p:tagLst>
</file>

<file path=ppt/theme/theme1.xml><?xml version="1.0" encoding="utf-8"?>
<a:theme xmlns:a="http://schemas.openxmlformats.org/drawingml/2006/main" name="Leere Präsentation">
  <a:themeElements>
    <a:clrScheme name="Leere Prä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eere Prä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34" charset="-128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326F33FD8142E42BC87B23159AEA9F3" ma:contentTypeVersion="0" ma:contentTypeDescription="Ein neues Dokument erstellen." ma:contentTypeScope="" ma:versionID="0664379b99292483c59901ee4384d459">
  <xsd:schema xmlns:xsd="http://www.w3.org/2001/XMLSchema" xmlns:xs="http://www.w3.org/2001/XMLSchema" xmlns:p="http://schemas.microsoft.com/office/2006/metadata/properties" xmlns:ns2="b4d2b757-29eb-40f6-a27c-f2cea37ca625" targetNamespace="http://schemas.microsoft.com/office/2006/metadata/properties" ma:root="true" ma:fieldsID="0bfb1cb1fc6ab41d0562f7ef566f118c" ns2:_="">
    <xsd:import namespace="b4d2b757-29eb-40f6-a27c-f2cea37ca62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d2b757-29eb-40f6-a27c-f2cea37ca625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Wert der Dokument-ID" ma:description="Der Wert der diesem Element zugewiesenen Dokument-ID." ma:internalName="_dlc_DocId" ma:readOnly="true">
      <xsd:simpleType>
        <xsd:restriction base="dms:Text"/>
      </xsd:simpleType>
    </xsd:element>
    <xsd:element name="_dlc_DocIdUrl" ma:index="9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b4d2b757-29eb-40f6-a27c-f2cea37ca625">4P4XHP34U64T-33-148</_dlc_DocId>
    <_dlc_DocIdUrl xmlns="b4d2b757-29eb-40f6-a27c-f2cea37ca625">
      <Url>https://verwaltung.shnet.ch/home/FINREF/_layouts/15/DocIdRedir.aspx?ID=4P4XHP34U64T-33-148</Url>
      <Description>4P4XHP34U64T-33-148</Description>
    </_dlc_DocIdUrl>
  </documentManagement>
</p:properti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D86F3CB-CC1B-4B6F-AF10-8ACA3CA9554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4d2b757-29eb-40f6-a27c-f2cea37ca62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214F192-6363-45C9-9FA8-EA68E5B9CAB8}">
  <ds:schemaRefs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b4d2b757-29eb-40f6-a27c-f2cea37ca625"/>
    <ds:schemaRef ds:uri="http://schemas.microsoft.com/office/infopath/2007/PartnerControls"/>
    <ds:schemaRef ds:uri="http://schemas.microsoft.com/office/2006/documentManagement/types"/>
    <ds:schemaRef ds:uri="http://purl.org/dc/terms/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47BF5AE0-B322-4608-A355-D8E32374F4F6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B6F57C66-7BFA-43E3-97C1-3A23D62A354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60</Words>
  <Application>Microsoft Office PowerPoint</Application>
  <PresentationFormat>Breitbild</PresentationFormat>
  <Paragraphs>78</Paragraphs>
  <Slides>12</Slides>
  <Notes>12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2</vt:i4>
      </vt:variant>
      <vt:variant>
        <vt:lpstr>Folientitel</vt:lpstr>
      </vt:variant>
      <vt:variant>
        <vt:i4>12</vt:i4>
      </vt:variant>
    </vt:vector>
  </HeadingPairs>
  <TitlesOfParts>
    <vt:vector size="22" baseType="lpstr">
      <vt:lpstr>ＭＳ Ｐゴシック</vt:lpstr>
      <vt:lpstr>Arial</vt:lpstr>
      <vt:lpstr>Calibri</vt:lpstr>
      <vt:lpstr>FuturaMedium</vt:lpstr>
      <vt:lpstr>Symbol</vt:lpstr>
      <vt:lpstr>Times New Roman</vt:lpstr>
      <vt:lpstr>Wingdings</vt:lpstr>
      <vt:lpstr>Wingdings 3</vt:lpstr>
      <vt:lpstr>Leere Präsentation</vt:lpstr>
      <vt:lpstr>Benutzerdefiniertes Desig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--- ---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--- ---</dc:creator>
  <cp:lastModifiedBy>Preisig Daniel</cp:lastModifiedBy>
  <cp:revision>1008</cp:revision>
  <cp:lastPrinted>2017-08-16T18:36:42Z</cp:lastPrinted>
  <dcterms:created xsi:type="dcterms:W3CDTF">2008-01-30T09:17:41Z</dcterms:created>
  <dcterms:modified xsi:type="dcterms:W3CDTF">2017-09-18T08:53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326F33FD8142E42BC87B23159AEA9F3</vt:lpwstr>
  </property>
  <property fmtid="{D5CDD505-2E9C-101B-9397-08002B2CF9AE}" pid="3" name="_dlc_DocIdItemGuid">
    <vt:lpwstr>884f6719-ae46-45ad-a8ad-2376e6897460</vt:lpwstr>
  </property>
</Properties>
</file>